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wdp" ContentType="image/vnd.ms-photo"/>
  <Default Extension="jpg" ContentType="image/jpeg"/>
  <Default Extension="rels" ContentType="application/vnd.openxmlformats-package.relationships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0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2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3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4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notesSlides/notesSlide17.xml" ContentType="application/vnd.openxmlformats-officedocument.presentationml.notesSlide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Override PartName="/ppt/tags/tag3.xml" ContentType="application/vnd.openxmlformats-officedocument.presentationml.tags+xml"/>
  <Override PartName="/ppt/notesSlides/notesSlide19.xml" ContentType="application/vnd.openxmlformats-officedocument.presentationml.notesSlide+xml"/>
  <Override PartName="/ppt/tags/tag4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78" r:id="rId5"/>
    <p:sldMasterId id="2147483690" r:id="rId6"/>
    <p:sldMasterId id="2147483705" r:id="rId7"/>
    <p:sldMasterId id="2147483724" r:id="rId8"/>
    <p:sldMasterId id="2147483740" r:id="rId9"/>
  </p:sldMasterIdLst>
  <p:notesMasterIdLst>
    <p:notesMasterId r:id="rId34"/>
  </p:notesMasterIdLst>
  <p:handoutMasterIdLst>
    <p:handoutMasterId r:id="rId35"/>
  </p:handoutMasterIdLst>
  <p:sldIdLst>
    <p:sldId id="730" r:id="rId10"/>
    <p:sldId id="564" r:id="rId11"/>
    <p:sldId id="553" r:id="rId12"/>
    <p:sldId id="561" r:id="rId13"/>
    <p:sldId id="562" r:id="rId14"/>
    <p:sldId id="563" r:id="rId15"/>
    <p:sldId id="570" r:id="rId16"/>
    <p:sldId id="571" r:id="rId17"/>
    <p:sldId id="572" r:id="rId18"/>
    <p:sldId id="573" r:id="rId19"/>
    <p:sldId id="574" r:id="rId20"/>
    <p:sldId id="575" r:id="rId21"/>
    <p:sldId id="576" r:id="rId22"/>
    <p:sldId id="577" r:id="rId23"/>
    <p:sldId id="578" r:id="rId24"/>
    <p:sldId id="565" r:id="rId25"/>
    <p:sldId id="566" r:id="rId26"/>
    <p:sldId id="567" r:id="rId27"/>
    <p:sldId id="568" r:id="rId28"/>
    <p:sldId id="726" r:id="rId29"/>
    <p:sldId id="727" r:id="rId30"/>
    <p:sldId id="728" r:id="rId31"/>
    <p:sldId id="729" r:id="rId32"/>
    <p:sldId id="580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736B01BF-6263-1245-8AB2-119AF374CD39}">
          <p14:sldIdLst>
            <p14:sldId id="730"/>
          </p14:sldIdLst>
        </p14:section>
        <p14:section name="Configuring Your System" id="{0B191013-53E2-3F4D-A399-3DA65139E20B}">
          <p14:sldIdLst>
            <p14:sldId id="564"/>
            <p14:sldId id="553"/>
            <p14:sldId id="561"/>
            <p14:sldId id="562"/>
            <p14:sldId id="563"/>
          </p14:sldIdLst>
        </p14:section>
        <p14:section name="Crownpeak Terminology" id="{36CB340D-3916-B84D-BBF7-EAD80CF23F0B}">
          <p14:sldIdLst>
            <p14:sldId id="570"/>
            <p14:sldId id="571"/>
            <p14:sldId id="572"/>
            <p14:sldId id="573"/>
            <p14:sldId id="574"/>
            <p14:sldId id="575"/>
            <p14:sldId id="576"/>
            <p14:sldId id="577"/>
            <p14:sldId id="578"/>
          </p14:sldIdLst>
        </p14:section>
        <p14:section name="Editing, Creating &amp; Publishing Content" id="{D6329E32-3625-8F4E-929D-04BF99E0D0B4}">
          <p14:sldIdLst>
            <p14:sldId id="565"/>
            <p14:sldId id="566"/>
            <p14:sldId id="567"/>
            <p14:sldId id="568"/>
            <p14:sldId id="726"/>
            <p14:sldId id="727"/>
            <p14:sldId id="728"/>
            <p14:sldId id="729"/>
            <p14:sldId id="580"/>
          </p14:sldIdLst>
        </p14:section>
        <p14:section name="Title" id="{534CA95C-1D95-0E46-9155-23D5805AE76F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ise Duncan" initials="DD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217E"/>
    <a:srgbClr val="CDC1CE"/>
    <a:srgbClr val="FFFFFF"/>
    <a:srgbClr val="E63512"/>
    <a:srgbClr val="001A2A"/>
    <a:srgbClr val="00243A"/>
    <a:srgbClr val="BBD7E4"/>
    <a:srgbClr val="EB5D41"/>
    <a:srgbClr val="000000"/>
    <a:srgbClr val="F8F9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3009" autoAdjust="0"/>
    <p:restoredTop sz="73489" autoAdjust="0"/>
  </p:normalViewPr>
  <p:slideViewPr>
    <p:cSldViewPr snapToGrid="0" snapToObjects="1">
      <p:cViewPr>
        <p:scale>
          <a:sx n="99" d="100"/>
          <a:sy n="99" d="100"/>
        </p:scale>
        <p:origin x="616" y="79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6" d="100"/>
          <a:sy n="56" d="100"/>
        </p:scale>
        <p:origin x="285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1.xml"/><Relationship Id="rId21" Type="http://schemas.openxmlformats.org/officeDocument/2006/relationships/slide" Target="slides/slide12.xml"/><Relationship Id="rId22" Type="http://schemas.openxmlformats.org/officeDocument/2006/relationships/slide" Target="slides/slide13.xml"/><Relationship Id="rId23" Type="http://schemas.openxmlformats.org/officeDocument/2006/relationships/slide" Target="slides/slide14.xml"/><Relationship Id="rId24" Type="http://schemas.openxmlformats.org/officeDocument/2006/relationships/slide" Target="slides/slide15.xml"/><Relationship Id="rId25" Type="http://schemas.openxmlformats.org/officeDocument/2006/relationships/slide" Target="slides/slide16.xml"/><Relationship Id="rId26" Type="http://schemas.openxmlformats.org/officeDocument/2006/relationships/slide" Target="slides/slide17.xml"/><Relationship Id="rId27" Type="http://schemas.openxmlformats.org/officeDocument/2006/relationships/slide" Target="slides/slide18.xml"/><Relationship Id="rId28" Type="http://schemas.openxmlformats.org/officeDocument/2006/relationships/slide" Target="slides/slide19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30" Type="http://schemas.openxmlformats.org/officeDocument/2006/relationships/slide" Target="slides/slide21.xml"/><Relationship Id="rId31" Type="http://schemas.openxmlformats.org/officeDocument/2006/relationships/slide" Target="slides/slide22.xml"/><Relationship Id="rId32" Type="http://schemas.openxmlformats.org/officeDocument/2006/relationships/slide" Target="slides/slide23.xml"/><Relationship Id="rId9" Type="http://schemas.openxmlformats.org/officeDocument/2006/relationships/slideMaster" Target="slideMasters/slideMaster6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Master" Target="slideMasters/slideMaster5.xml"/><Relationship Id="rId33" Type="http://schemas.openxmlformats.org/officeDocument/2006/relationships/slide" Target="slides/slide24.xml"/><Relationship Id="rId34" Type="http://schemas.openxmlformats.org/officeDocument/2006/relationships/notesMaster" Target="notesMasters/notesMaster1.xml"/><Relationship Id="rId35" Type="http://schemas.openxmlformats.org/officeDocument/2006/relationships/handoutMaster" Target="handoutMasters/handoutMaster1.xml"/><Relationship Id="rId36" Type="http://schemas.openxmlformats.org/officeDocument/2006/relationships/commentAuthors" Target="commentAuthors.xml"/><Relationship Id="rId10" Type="http://schemas.openxmlformats.org/officeDocument/2006/relationships/slide" Target="slides/slide1.xml"/><Relationship Id="rId11" Type="http://schemas.openxmlformats.org/officeDocument/2006/relationships/slide" Target="slides/slide2.xml"/><Relationship Id="rId12" Type="http://schemas.openxmlformats.org/officeDocument/2006/relationships/slide" Target="slides/slide3.xml"/><Relationship Id="rId13" Type="http://schemas.openxmlformats.org/officeDocument/2006/relationships/slide" Target="slides/slide4.xml"/><Relationship Id="rId14" Type="http://schemas.openxmlformats.org/officeDocument/2006/relationships/slide" Target="slides/slide5.xml"/><Relationship Id="rId15" Type="http://schemas.openxmlformats.org/officeDocument/2006/relationships/slide" Target="slides/slide6.xml"/><Relationship Id="rId16" Type="http://schemas.openxmlformats.org/officeDocument/2006/relationships/slide" Target="slides/slide7.xml"/><Relationship Id="rId17" Type="http://schemas.openxmlformats.org/officeDocument/2006/relationships/slide" Target="slides/slide8.xml"/><Relationship Id="rId18" Type="http://schemas.openxmlformats.org/officeDocument/2006/relationships/slide" Target="slides/slide9.xml"/><Relationship Id="rId19" Type="http://schemas.openxmlformats.org/officeDocument/2006/relationships/slide" Target="slides/slide10.xml"/><Relationship Id="rId37" Type="http://schemas.openxmlformats.org/officeDocument/2006/relationships/presProps" Target="presProps.xml"/><Relationship Id="rId38" Type="http://schemas.openxmlformats.org/officeDocument/2006/relationships/viewProps" Target="viewProps.xml"/><Relationship Id="rId39" Type="http://schemas.openxmlformats.org/officeDocument/2006/relationships/theme" Target="theme/theme1.xml"/><Relationship Id="rId40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7-07T15:18:55.991" idx="4">
    <p:pos x="10" y="10"/>
    <p:text>Update colors</p:text>
    <p:extLst>
      <p:ext uri="{C676402C-5697-4E1C-873F-D02D1690AC5C}">
        <p15:threadingInfo xmlns:p15="http://schemas.microsoft.com/office/powerpoint/2012/main" timeZoneBias="42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CE1948D-3D49-48BF-87AB-2F43AD0BAEE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AE9A22E-965F-4FA9-B746-019CB801BE1A}">
      <dgm:prSet phldrT="[Text]"/>
      <dgm:spPr>
        <a:ln>
          <a:solidFill>
            <a:schemeClr val="bg1"/>
          </a:solidFill>
        </a:ln>
      </dgm:spPr>
      <dgm:t>
        <a:bodyPr/>
        <a:lstStyle/>
        <a:p>
          <a:r>
            <a:rPr lang="en-US" smtClean="0">
              <a:latin typeface="+mn-lt"/>
            </a:rPr>
            <a:t>CrownPeak Terminology</a:t>
          </a:r>
          <a:endParaRPr lang="en-US">
            <a:latin typeface="+mn-lt"/>
          </a:endParaRPr>
        </a:p>
      </dgm:t>
    </dgm:pt>
    <dgm:pt modelId="{F87C08BD-7F98-4BA5-9675-F289FB17E0D6}" type="parTrans" cxnId="{0C7DB1C6-6469-4317-AD14-BA9130063E7C}">
      <dgm:prSet/>
      <dgm:spPr/>
      <dgm:t>
        <a:bodyPr/>
        <a:lstStyle/>
        <a:p>
          <a:endParaRPr lang="en-US"/>
        </a:p>
      </dgm:t>
    </dgm:pt>
    <dgm:pt modelId="{741DDD07-E2B2-4761-BDDC-6B22BEF069BC}" type="sibTrans" cxnId="{0C7DB1C6-6469-4317-AD14-BA9130063E7C}">
      <dgm:prSet/>
      <dgm:spPr/>
      <dgm:t>
        <a:bodyPr/>
        <a:lstStyle/>
        <a:p>
          <a:endParaRPr lang="en-US"/>
        </a:p>
      </dgm:t>
    </dgm:pt>
    <dgm:pt modelId="{9CB4BA7E-E4EF-47E4-9135-C79559313FFD}">
      <dgm:prSet phldrT="[Text]"/>
      <dgm:spPr>
        <a:solidFill>
          <a:schemeClr val="accent2"/>
        </a:solidFill>
        <a:ln>
          <a:solidFill>
            <a:schemeClr val="bg1"/>
          </a:solidFill>
        </a:ln>
      </dgm:spPr>
      <dgm:t>
        <a:bodyPr/>
        <a:lstStyle/>
        <a:p>
          <a:r>
            <a:rPr lang="en-US" smtClean="0">
              <a:latin typeface="+mn-lt"/>
            </a:rPr>
            <a:t>Publishing Terminology</a:t>
          </a:r>
          <a:endParaRPr lang="en-US">
            <a:latin typeface="+mn-lt"/>
          </a:endParaRPr>
        </a:p>
      </dgm:t>
    </dgm:pt>
    <dgm:pt modelId="{F55767EB-EB00-42DA-ACE7-2B27725513A2}" type="parTrans" cxnId="{FAF2D76B-9A4A-452D-8EAF-3AC7F38DC30F}">
      <dgm:prSet/>
      <dgm:spPr/>
      <dgm:t>
        <a:bodyPr/>
        <a:lstStyle/>
        <a:p>
          <a:endParaRPr lang="en-US"/>
        </a:p>
      </dgm:t>
    </dgm:pt>
    <dgm:pt modelId="{635AA41D-6E42-4516-9E9F-994B5CEE3547}" type="sibTrans" cxnId="{FAF2D76B-9A4A-452D-8EAF-3AC7F38DC30F}">
      <dgm:prSet/>
      <dgm:spPr/>
      <dgm:t>
        <a:bodyPr/>
        <a:lstStyle/>
        <a:p>
          <a:endParaRPr lang="en-US"/>
        </a:p>
      </dgm:t>
    </dgm:pt>
    <dgm:pt modelId="{D665CA93-B3A8-444E-9F18-3D449F8CFC1A}">
      <dgm:prSet phldrT="[Text]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en-US" smtClean="0">
              <a:latin typeface="+mn-lt"/>
            </a:rPr>
            <a:t>Developer Terminology </a:t>
          </a:r>
          <a:endParaRPr lang="en-US">
            <a:latin typeface="+mn-lt"/>
          </a:endParaRPr>
        </a:p>
      </dgm:t>
    </dgm:pt>
    <dgm:pt modelId="{D5B4584D-F8DA-4B6C-9172-B4DFD791831C}" type="parTrans" cxnId="{0BA1F6B8-E896-4098-AAEF-54D0EAED48CF}">
      <dgm:prSet/>
      <dgm:spPr/>
      <dgm:t>
        <a:bodyPr/>
        <a:lstStyle/>
        <a:p>
          <a:endParaRPr lang="en-US"/>
        </a:p>
      </dgm:t>
    </dgm:pt>
    <dgm:pt modelId="{3E6E6F8F-BEB3-4A9D-9D5C-89A47E12F043}" type="sibTrans" cxnId="{0BA1F6B8-E896-4098-AAEF-54D0EAED48CF}">
      <dgm:prSet/>
      <dgm:spPr/>
      <dgm:t>
        <a:bodyPr/>
        <a:lstStyle/>
        <a:p>
          <a:endParaRPr lang="en-US"/>
        </a:p>
      </dgm:t>
    </dgm:pt>
    <dgm:pt modelId="{83C351DB-342A-4E30-8F24-270E9C7FD755}" type="pres">
      <dgm:prSet presAssocID="{3CE1948D-3D49-48BF-87AB-2F43AD0BAEE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E6DEE3E-8A02-4404-AB40-980BBC8B105A}" type="pres">
      <dgm:prSet presAssocID="{8AE9A22E-965F-4FA9-B746-019CB801BE1A}" presName="parentLin" presStyleCnt="0"/>
      <dgm:spPr/>
    </dgm:pt>
    <dgm:pt modelId="{F5A1AAAB-A578-46CE-A197-33E91164E527}" type="pres">
      <dgm:prSet presAssocID="{8AE9A22E-965F-4FA9-B746-019CB801BE1A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392BAE42-9E87-4064-916D-C0D499FDE2EF}" type="pres">
      <dgm:prSet presAssocID="{8AE9A22E-965F-4FA9-B746-019CB801BE1A}" presName="parentText" presStyleLbl="node1" presStyleIdx="0" presStyleCnt="3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2CF4AD-6506-4997-8D7A-A58625BD6D1B}" type="pres">
      <dgm:prSet presAssocID="{8AE9A22E-965F-4FA9-B746-019CB801BE1A}" presName="negativeSpace" presStyleCnt="0"/>
      <dgm:spPr/>
    </dgm:pt>
    <dgm:pt modelId="{E22FCB52-7271-4111-A577-B0690081212E}" type="pres">
      <dgm:prSet presAssocID="{8AE9A22E-965F-4FA9-B746-019CB801BE1A}" presName="childText" presStyleLbl="conFgAcc1" presStyleIdx="0" presStyleCnt="3">
        <dgm:presLayoutVars>
          <dgm:bulletEnabled val="1"/>
        </dgm:presLayoutVars>
      </dgm:prSet>
      <dgm:spPr>
        <a:solidFill>
          <a:schemeClr val="bg2">
            <a:alpha val="90000"/>
          </a:schemeClr>
        </a:solidFill>
      </dgm:spPr>
      <dgm:t>
        <a:bodyPr/>
        <a:lstStyle/>
        <a:p>
          <a:endParaRPr lang="en-US"/>
        </a:p>
      </dgm:t>
    </dgm:pt>
    <dgm:pt modelId="{3E06BCD7-39C7-417D-AA15-22B3B27F3028}" type="pres">
      <dgm:prSet presAssocID="{741DDD07-E2B2-4761-BDDC-6B22BEF069BC}" presName="spaceBetweenRectangles" presStyleCnt="0"/>
      <dgm:spPr/>
    </dgm:pt>
    <dgm:pt modelId="{4FC674A9-F7C7-444C-81D9-FD4F0FD96DC4}" type="pres">
      <dgm:prSet presAssocID="{9CB4BA7E-E4EF-47E4-9135-C79559313FFD}" presName="parentLin" presStyleCnt="0"/>
      <dgm:spPr/>
    </dgm:pt>
    <dgm:pt modelId="{46AD547E-475C-40FA-A578-0B495CCE5592}" type="pres">
      <dgm:prSet presAssocID="{9CB4BA7E-E4EF-47E4-9135-C79559313FFD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8D3F9D77-D32E-4E65-8602-CFED855F42FA}" type="pres">
      <dgm:prSet presAssocID="{9CB4BA7E-E4EF-47E4-9135-C79559313FFD}" presName="parentText" presStyleLbl="node1" presStyleIdx="1" presStyleCnt="3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FC3B0B-70CB-49FF-9AFD-A209F56038CC}" type="pres">
      <dgm:prSet presAssocID="{9CB4BA7E-E4EF-47E4-9135-C79559313FFD}" presName="negativeSpace" presStyleCnt="0"/>
      <dgm:spPr/>
    </dgm:pt>
    <dgm:pt modelId="{8561C929-15FE-415A-BB3F-CE533A78CFF0}" type="pres">
      <dgm:prSet presAssocID="{9CB4BA7E-E4EF-47E4-9135-C79559313FFD}" presName="childText" presStyleLbl="conFgAcc1" presStyleIdx="1" presStyleCnt="3">
        <dgm:presLayoutVars>
          <dgm:bulletEnabled val="1"/>
        </dgm:presLayoutVars>
      </dgm:prSet>
      <dgm:spPr>
        <a:solidFill>
          <a:schemeClr val="bg2">
            <a:alpha val="90000"/>
          </a:schemeClr>
        </a:solidFill>
      </dgm:spPr>
      <dgm:t>
        <a:bodyPr/>
        <a:lstStyle/>
        <a:p>
          <a:endParaRPr lang="en-US"/>
        </a:p>
      </dgm:t>
    </dgm:pt>
    <dgm:pt modelId="{A10625AC-B398-477D-87E6-C80B30DFF8EF}" type="pres">
      <dgm:prSet presAssocID="{635AA41D-6E42-4516-9E9F-994B5CEE3547}" presName="spaceBetweenRectangles" presStyleCnt="0"/>
      <dgm:spPr/>
    </dgm:pt>
    <dgm:pt modelId="{4DECF487-5625-4BC3-9E43-2813844AE33A}" type="pres">
      <dgm:prSet presAssocID="{D665CA93-B3A8-444E-9F18-3D449F8CFC1A}" presName="parentLin" presStyleCnt="0"/>
      <dgm:spPr/>
    </dgm:pt>
    <dgm:pt modelId="{E4400B28-5762-44E4-AAC2-D9BB394AE2F5}" type="pres">
      <dgm:prSet presAssocID="{D665CA93-B3A8-444E-9F18-3D449F8CFC1A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3B592475-17D6-43EB-81E9-1DD6AD44BE1E}" type="pres">
      <dgm:prSet presAssocID="{D665CA93-B3A8-444E-9F18-3D449F8CFC1A}" presName="parentText" presStyleLbl="node1" presStyleIdx="2" presStyleCnt="3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917E20-A6C5-41D1-A796-4E3AB54ED6F3}" type="pres">
      <dgm:prSet presAssocID="{D665CA93-B3A8-444E-9F18-3D449F8CFC1A}" presName="negativeSpace" presStyleCnt="0"/>
      <dgm:spPr/>
    </dgm:pt>
    <dgm:pt modelId="{025392F1-2BFE-42DD-8E8A-4F493145D5A7}" type="pres">
      <dgm:prSet presAssocID="{D665CA93-B3A8-444E-9F18-3D449F8CFC1A}" presName="childText" presStyleLbl="conFgAcc1" presStyleIdx="2" presStyleCnt="3">
        <dgm:presLayoutVars>
          <dgm:bulletEnabled val="1"/>
        </dgm:presLayoutVars>
      </dgm:prSet>
      <dgm:spPr>
        <a:solidFill>
          <a:schemeClr val="bg2">
            <a:alpha val="90000"/>
          </a:schemeClr>
        </a:solidFill>
      </dgm:spPr>
      <dgm:t>
        <a:bodyPr/>
        <a:lstStyle/>
        <a:p>
          <a:endParaRPr lang="en-US"/>
        </a:p>
      </dgm:t>
    </dgm:pt>
  </dgm:ptLst>
  <dgm:cxnLst>
    <dgm:cxn modelId="{B4E18450-5C12-564A-89B7-9FA65CD97EF1}" type="presOf" srcId="{D665CA93-B3A8-444E-9F18-3D449F8CFC1A}" destId="{3B592475-17D6-43EB-81E9-1DD6AD44BE1E}" srcOrd="1" destOrd="0" presId="urn:microsoft.com/office/officeart/2005/8/layout/list1"/>
    <dgm:cxn modelId="{4B39D21C-172E-034C-89D4-A5B813428C3B}" type="presOf" srcId="{9CB4BA7E-E4EF-47E4-9135-C79559313FFD}" destId="{8D3F9D77-D32E-4E65-8602-CFED855F42FA}" srcOrd="1" destOrd="0" presId="urn:microsoft.com/office/officeart/2005/8/layout/list1"/>
    <dgm:cxn modelId="{6163BE27-3D8C-C14B-ADBA-016636E0D2F7}" type="presOf" srcId="{8AE9A22E-965F-4FA9-B746-019CB801BE1A}" destId="{F5A1AAAB-A578-46CE-A197-33E91164E527}" srcOrd="0" destOrd="0" presId="urn:microsoft.com/office/officeart/2005/8/layout/list1"/>
    <dgm:cxn modelId="{B5EBDA37-7A1F-0046-A428-774D567FB4DE}" type="presOf" srcId="{8AE9A22E-965F-4FA9-B746-019CB801BE1A}" destId="{392BAE42-9E87-4064-916D-C0D499FDE2EF}" srcOrd="1" destOrd="0" presId="urn:microsoft.com/office/officeart/2005/8/layout/list1"/>
    <dgm:cxn modelId="{FAF2D76B-9A4A-452D-8EAF-3AC7F38DC30F}" srcId="{3CE1948D-3D49-48BF-87AB-2F43AD0BAEEE}" destId="{9CB4BA7E-E4EF-47E4-9135-C79559313FFD}" srcOrd="1" destOrd="0" parTransId="{F55767EB-EB00-42DA-ACE7-2B27725513A2}" sibTransId="{635AA41D-6E42-4516-9E9F-994B5CEE3547}"/>
    <dgm:cxn modelId="{33B43621-D687-7742-AE8B-14DCE6C3D070}" type="presOf" srcId="{9CB4BA7E-E4EF-47E4-9135-C79559313FFD}" destId="{46AD547E-475C-40FA-A578-0B495CCE5592}" srcOrd="0" destOrd="0" presId="urn:microsoft.com/office/officeart/2005/8/layout/list1"/>
    <dgm:cxn modelId="{157C57A9-72F0-104B-95AE-BD69BBD055EA}" type="presOf" srcId="{3CE1948D-3D49-48BF-87AB-2F43AD0BAEEE}" destId="{83C351DB-342A-4E30-8F24-270E9C7FD755}" srcOrd="0" destOrd="0" presId="urn:microsoft.com/office/officeart/2005/8/layout/list1"/>
    <dgm:cxn modelId="{D30F268D-598E-8342-9BAD-83A9DADF3BE8}" type="presOf" srcId="{D665CA93-B3A8-444E-9F18-3D449F8CFC1A}" destId="{E4400B28-5762-44E4-AAC2-D9BB394AE2F5}" srcOrd="0" destOrd="0" presId="urn:microsoft.com/office/officeart/2005/8/layout/list1"/>
    <dgm:cxn modelId="{0BA1F6B8-E896-4098-AAEF-54D0EAED48CF}" srcId="{3CE1948D-3D49-48BF-87AB-2F43AD0BAEEE}" destId="{D665CA93-B3A8-444E-9F18-3D449F8CFC1A}" srcOrd="2" destOrd="0" parTransId="{D5B4584D-F8DA-4B6C-9172-B4DFD791831C}" sibTransId="{3E6E6F8F-BEB3-4A9D-9D5C-89A47E12F043}"/>
    <dgm:cxn modelId="{0C7DB1C6-6469-4317-AD14-BA9130063E7C}" srcId="{3CE1948D-3D49-48BF-87AB-2F43AD0BAEEE}" destId="{8AE9A22E-965F-4FA9-B746-019CB801BE1A}" srcOrd="0" destOrd="0" parTransId="{F87C08BD-7F98-4BA5-9675-F289FB17E0D6}" sibTransId="{741DDD07-E2B2-4761-BDDC-6B22BEF069BC}"/>
    <dgm:cxn modelId="{4C489383-6611-F34C-9E74-D04396BA5BDF}" type="presParOf" srcId="{83C351DB-342A-4E30-8F24-270E9C7FD755}" destId="{1E6DEE3E-8A02-4404-AB40-980BBC8B105A}" srcOrd="0" destOrd="0" presId="urn:microsoft.com/office/officeart/2005/8/layout/list1"/>
    <dgm:cxn modelId="{D9465710-F2F6-D649-8EEB-810EAB691D74}" type="presParOf" srcId="{1E6DEE3E-8A02-4404-AB40-980BBC8B105A}" destId="{F5A1AAAB-A578-46CE-A197-33E91164E527}" srcOrd="0" destOrd="0" presId="urn:microsoft.com/office/officeart/2005/8/layout/list1"/>
    <dgm:cxn modelId="{FF3FFEED-529B-8041-8643-5F4AB4692031}" type="presParOf" srcId="{1E6DEE3E-8A02-4404-AB40-980BBC8B105A}" destId="{392BAE42-9E87-4064-916D-C0D499FDE2EF}" srcOrd="1" destOrd="0" presId="urn:microsoft.com/office/officeart/2005/8/layout/list1"/>
    <dgm:cxn modelId="{156BC745-C61A-874A-8E14-94C53EF3D9AC}" type="presParOf" srcId="{83C351DB-342A-4E30-8F24-270E9C7FD755}" destId="{FF2CF4AD-6506-4997-8D7A-A58625BD6D1B}" srcOrd="1" destOrd="0" presId="urn:microsoft.com/office/officeart/2005/8/layout/list1"/>
    <dgm:cxn modelId="{35A59AC7-B968-D044-96DC-CAE3B9C15243}" type="presParOf" srcId="{83C351DB-342A-4E30-8F24-270E9C7FD755}" destId="{E22FCB52-7271-4111-A577-B0690081212E}" srcOrd="2" destOrd="0" presId="urn:microsoft.com/office/officeart/2005/8/layout/list1"/>
    <dgm:cxn modelId="{FD0C69AC-9C76-764B-8CED-7D42B4EFCA50}" type="presParOf" srcId="{83C351DB-342A-4E30-8F24-270E9C7FD755}" destId="{3E06BCD7-39C7-417D-AA15-22B3B27F3028}" srcOrd="3" destOrd="0" presId="urn:microsoft.com/office/officeart/2005/8/layout/list1"/>
    <dgm:cxn modelId="{07CB82B3-1683-8546-AB90-4F9891DE4ACF}" type="presParOf" srcId="{83C351DB-342A-4E30-8F24-270E9C7FD755}" destId="{4FC674A9-F7C7-444C-81D9-FD4F0FD96DC4}" srcOrd="4" destOrd="0" presId="urn:microsoft.com/office/officeart/2005/8/layout/list1"/>
    <dgm:cxn modelId="{860C2CA9-112D-D74F-B2B3-809D78D90D88}" type="presParOf" srcId="{4FC674A9-F7C7-444C-81D9-FD4F0FD96DC4}" destId="{46AD547E-475C-40FA-A578-0B495CCE5592}" srcOrd="0" destOrd="0" presId="urn:microsoft.com/office/officeart/2005/8/layout/list1"/>
    <dgm:cxn modelId="{E6DCEB1E-3231-B843-9A08-1322F4736451}" type="presParOf" srcId="{4FC674A9-F7C7-444C-81D9-FD4F0FD96DC4}" destId="{8D3F9D77-D32E-4E65-8602-CFED855F42FA}" srcOrd="1" destOrd="0" presId="urn:microsoft.com/office/officeart/2005/8/layout/list1"/>
    <dgm:cxn modelId="{2CAE23FD-C185-764D-93D5-D5C1C14AC5D0}" type="presParOf" srcId="{83C351DB-342A-4E30-8F24-270E9C7FD755}" destId="{D5FC3B0B-70CB-49FF-9AFD-A209F56038CC}" srcOrd="5" destOrd="0" presId="urn:microsoft.com/office/officeart/2005/8/layout/list1"/>
    <dgm:cxn modelId="{B266E97C-8FDC-194E-986A-DAE087E2EC93}" type="presParOf" srcId="{83C351DB-342A-4E30-8F24-270E9C7FD755}" destId="{8561C929-15FE-415A-BB3F-CE533A78CFF0}" srcOrd="6" destOrd="0" presId="urn:microsoft.com/office/officeart/2005/8/layout/list1"/>
    <dgm:cxn modelId="{011D9FAA-8A97-B84E-BC62-D7985BD327BD}" type="presParOf" srcId="{83C351DB-342A-4E30-8F24-270E9C7FD755}" destId="{A10625AC-B398-477D-87E6-C80B30DFF8EF}" srcOrd="7" destOrd="0" presId="urn:microsoft.com/office/officeart/2005/8/layout/list1"/>
    <dgm:cxn modelId="{4F323B17-E3A5-8C4E-87B4-FE4145E57AD6}" type="presParOf" srcId="{83C351DB-342A-4E30-8F24-270E9C7FD755}" destId="{4DECF487-5625-4BC3-9E43-2813844AE33A}" srcOrd="8" destOrd="0" presId="urn:microsoft.com/office/officeart/2005/8/layout/list1"/>
    <dgm:cxn modelId="{83A385D9-C627-E645-9430-C7F2BA7A62B1}" type="presParOf" srcId="{4DECF487-5625-4BC3-9E43-2813844AE33A}" destId="{E4400B28-5762-44E4-AAC2-D9BB394AE2F5}" srcOrd="0" destOrd="0" presId="urn:microsoft.com/office/officeart/2005/8/layout/list1"/>
    <dgm:cxn modelId="{BF63A4F4-DB86-184F-834C-70ED7B8CE6B6}" type="presParOf" srcId="{4DECF487-5625-4BC3-9E43-2813844AE33A}" destId="{3B592475-17D6-43EB-81E9-1DD6AD44BE1E}" srcOrd="1" destOrd="0" presId="urn:microsoft.com/office/officeart/2005/8/layout/list1"/>
    <dgm:cxn modelId="{969D36CF-B233-AC43-8D14-8DCA8A4590C2}" type="presParOf" srcId="{83C351DB-342A-4E30-8F24-270E9C7FD755}" destId="{44917E20-A6C5-41D1-A796-4E3AB54ED6F3}" srcOrd="9" destOrd="0" presId="urn:microsoft.com/office/officeart/2005/8/layout/list1"/>
    <dgm:cxn modelId="{24200EBE-4849-864C-B0BC-1CCAD6B6073B}" type="presParOf" srcId="{83C351DB-342A-4E30-8F24-270E9C7FD755}" destId="{025392F1-2BFE-42DD-8E8A-4F493145D5A7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B0E4327-2366-4EC3-97E9-DA703A1C1FA0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D5A06C8-08B7-43AC-8ADC-5E93001A7614}">
      <dgm:prSet phldrT="[Text]" custT="1"/>
      <dgm:spPr>
        <a:ln>
          <a:solidFill>
            <a:schemeClr val="bg1"/>
          </a:solidFill>
        </a:ln>
      </dgm:spPr>
      <dgm:t>
        <a:bodyPr/>
        <a:lstStyle/>
        <a:p>
          <a:r>
            <a:rPr lang="en-US" sz="3200" smtClean="0">
              <a:latin typeface="+mn-lt"/>
            </a:rPr>
            <a:t>Edit</a:t>
          </a:r>
          <a:endParaRPr lang="en-US" sz="3200">
            <a:latin typeface="+mn-lt"/>
          </a:endParaRPr>
        </a:p>
      </dgm:t>
    </dgm:pt>
    <dgm:pt modelId="{639DC35B-C7B5-42D7-9909-F8117E91E553}" type="parTrans" cxnId="{5B428374-AF88-4A12-8BCE-EC0C3C917AC7}">
      <dgm:prSet/>
      <dgm:spPr/>
      <dgm:t>
        <a:bodyPr/>
        <a:lstStyle/>
        <a:p>
          <a:endParaRPr lang="en-US"/>
        </a:p>
      </dgm:t>
    </dgm:pt>
    <dgm:pt modelId="{89914519-9608-4E26-A8A4-F17638E040D0}" type="sibTrans" cxnId="{5B428374-AF88-4A12-8BCE-EC0C3C917AC7}">
      <dgm:prSet/>
      <dgm:spPr/>
      <dgm:t>
        <a:bodyPr/>
        <a:lstStyle/>
        <a:p>
          <a:endParaRPr lang="en-US"/>
        </a:p>
      </dgm:t>
    </dgm:pt>
    <dgm:pt modelId="{76DE23EA-B6A6-4D12-A3E5-2F48EB31950A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400" smtClean="0">
              <a:solidFill>
                <a:schemeClr val="bg1"/>
              </a:solidFill>
              <a:latin typeface="+mn-lt"/>
            </a:rPr>
            <a:t>Configuration, Content, or Page</a:t>
          </a:r>
          <a:endParaRPr lang="en-US" sz="2400">
            <a:solidFill>
              <a:schemeClr val="bg1"/>
            </a:solidFill>
            <a:latin typeface="+mn-lt"/>
          </a:endParaRPr>
        </a:p>
      </dgm:t>
    </dgm:pt>
    <dgm:pt modelId="{3732DC23-EEED-4477-B5F5-89121D8FA440}" type="parTrans" cxnId="{7DF58651-3E8C-40D8-B14A-1EC1D4CBB248}">
      <dgm:prSet/>
      <dgm:spPr/>
      <dgm:t>
        <a:bodyPr/>
        <a:lstStyle/>
        <a:p>
          <a:endParaRPr lang="en-US"/>
        </a:p>
      </dgm:t>
    </dgm:pt>
    <dgm:pt modelId="{2C28D166-12CD-4F7E-A09C-C22098397F1A}" type="sibTrans" cxnId="{7DF58651-3E8C-40D8-B14A-1EC1D4CBB248}">
      <dgm:prSet/>
      <dgm:spPr/>
      <dgm:t>
        <a:bodyPr/>
        <a:lstStyle/>
        <a:p>
          <a:endParaRPr lang="en-US"/>
        </a:p>
      </dgm:t>
    </dgm:pt>
    <dgm:pt modelId="{02A4D10A-BAC3-4850-9590-D5D2A8F118D8}">
      <dgm:prSet phldrT="[Text]" custT="1"/>
      <dgm:spPr>
        <a:solidFill>
          <a:schemeClr val="tx1"/>
        </a:solidFill>
        <a:ln>
          <a:solidFill>
            <a:schemeClr val="bg1"/>
          </a:solidFill>
        </a:ln>
      </dgm:spPr>
      <dgm:t>
        <a:bodyPr/>
        <a:lstStyle/>
        <a:p>
          <a:r>
            <a:rPr lang="en-US" sz="3200" smtClean="0">
              <a:latin typeface="+mn-lt"/>
            </a:rPr>
            <a:t>Asset</a:t>
          </a:r>
          <a:endParaRPr lang="en-US" sz="3200">
            <a:latin typeface="+mn-lt"/>
          </a:endParaRPr>
        </a:p>
      </dgm:t>
    </dgm:pt>
    <dgm:pt modelId="{23A52DD1-478A-41A7-8622-E4F6F4F3DD68}" type="parTrans" cxnId="{853C9406-AB9D-454A-AE00-E7A5CB16C456}">
      <dgm:prSet/>
      <dgm:spPr/>
      <dgm:t>
        <a:bodyPr/>
        <a:lstStyle/>
        <a:p>
          <a:endParaRPr lang="en-US"/>
        </a:p>
      </dgm:t>
    </dgm:pt>
    <dgm:pt modelId="{99B712CD-4F67-4FD0-84C5-D88ADB25CED2}" type="sibTrans" cxnId="{853C9406-AB9D-454A-AE00-E7A5CB16C456}">
      <dgm:prSet/>
      <dgm:spPr/>
      <dgm:t>
        <a:bodyPr/>
        <a:lstStyle/>
        <a:p>
          <a:endParaRPr lang="en-US"/>
        </a:p>
      </dgm:t>
    </dgm:pt>
    <dgm:pt modelId="{D90FA121-E908-4D4E-BFB8-E6641E743AA6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400" smtClean="0">
              <a:solidFill>
                <a:schemeClr val="bg1"/>
              </a:solidFill>
              <a:latin typeface="+mn-lt"/>
            </a:rPr>
            <a:t>Every file or folder in CMS</a:t>
          </a:r>
          <a:endParaRPr lang="en-US" sz="2400">
            <a:solidFill>
              <a:schemeClr val="bg1"/>
            </a:solidFill>
            <a:latin typeface="+mn-lt"/>
          </a:endParaRPr>
        </a:p>
      </dgm:t>
    </dgm:pt>
    <dgm:pt modelId="{E970B7EC-330D-4F0D-B4E6-242987184F59}" type="parTrans" cxnId="{2A5D72D8-91A5-4439-AA73-6E089AC80152}">
      <dgm:prSet/>
      <dgm:spPr/>
      <dgm:t>
        <a:bodyPr/>
        <a:lstStyle/>
        <a:p>
          <a:endParaRPr lang="en-US"/>
        </a:p>
      </dgm:t>
    </dgm:pt>
    <dgm:pt modelId="{28613F56-5D5F-4499-8F02-BC5D17C9FEAD}" type="sibTrans" cxnId="{2A5D72D8-91A5-4439-AA73-6E089AC80152}">
      <dgm:prSet/>
      <dgm:spPr/>
      <dgm:t>
        <a:bodyPr/>
        <a:lstStyle/>
        <a:p>
          <a:endParaRPr lang="en-US"/>
        </a:p>
      </dgm:t>
    </dgm:pt>
    <dgm:pt modelId="{FBC1B59F-BEB5-4238-A352-CAF1A9786590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400" smtClean="0">
              <a:solidFill>
                <a:schemeClr val="bg1"/>
              </a:solidFill>
              <a:latin typeface="+mn-lt"/>
            </a:rPr>
            <a:t>Each asset has an asset ID</a:t>
          </a:r>
          <a:endParaRPr lang="en-US" sz="2400">
            <a:solidFill>
              <a:schemeClr val="bg1"/>
            </a:solidFill>
            <a:latin typeface="+mn-lt"/>
          </a:endParaRPr>
        </a:p>
      </dgm:t>
    </dgm:pt>
    <dgm:pt modelId="{33D4F0B3-8D02-42A3-A770-B5C4B7EFA747}" type="parTrans" cxnId="{9C180139-1484-4841-803B-9E2168DFF103}">
      <dgm:prSet/>
      <dgm:spPr/>
      <dgm:t>
        <a:bodyPr/>
        <a:lstStyle/>
        <a:p>
          <a:endParaRPr lang="en-US"/>
        </a:p>
      </dgm:t>
    </dgm:pt>
    <dgm:pt modelId="{B8294B63-7BD0-4B40-9A8F-58A0E30B81B7}" type="sibTrans" cxnId="{9C180139-1484-4841-803B-9E2168DFF103}">
      <dgm:prSet/>
      <dgm:spPr/>
      <dgm:t>
        <a:bodyPr/>
        <a:lstStyle/>
        <a:p>
          <a:endParaRPr lang="en-US"/>
        </a:p>
      </dgm:t>
    </dgm:pt>
    <dgm:pt modelId="{5BF187C3-F302-C64B-AAC3-BB3B48C1CF96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400" smtClean="0">
              <a:solidFill>
                <a:schemeClr val="bg1"/>
              </a:solidFill>
              <a:latin typeface="+mn-lt"/>
            </a:rPr>
            <a:t>Two types of Asset:</a:t>
          </a:r>
          <a:endParaRPr lang="en-US" sz="2400">
            <a:solidFill>
              <a:schemeClr val="bg1"/>
            </a:solidFill>
            <a:latin typeface="+mn-lt"/>
          </a:endParaRPr>
        </a:p>
      </dgm:t>
    </dgm:pt>
    <dgm:pt modelId="{35401FC0-9C27-C447-9991-39666E36FC80}" type="parTrans" cxnId="{045DC096-41E6-934B-9840-F6CC9DE1DA73}">
      <dgm:prSet/>
      <dgm:spPr/>
      <dgm:t>
        <a:bodyPr/>
        <a:lstStyle/>
        <a:p>
          <a:endParaRPr lang="en-US"/>
        </a:p>
      </dgm:t>
    </dgm:pt>
    <dgm:pt modelId="{58131B7C-C8DC-0742-B0DD-1DBE36770409}" type="sibTrans" cxnId="{045DC096-41E6-934B-9840-F6CC9DE1DA73}">
      <dgm:prSet/>
      <dgm:spPr/>
      <dgm:t>
        <a:bodyPr/>
        <a:lstStyle/>
        <a:p>
          <a:endParaRPr lang="en-US"/>
        </a:p>
      </dgm:t>
    </dgm:pt>
    <dgm:pt modelId="{8C8081B1-CC1B-C049-8BA3-D0FEFFD8B0FF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400" smtClean="0">
              <a:solidFill>
                <a:schemeClr val="bg1"/>
              </a:solidFill>
              <a:latin typeface="+mn-lt"/>
            </a:rPr>
            <a:t>Templated Asset</a:t>
          </a:r>
          <a:endParaRPr lang="en-US" sz="2400">
            <a:solidFill>
              <a:schemeClr val="bg1"/>
            </a:solidFill>
            <a:latin typeface="+mn-lt"/>
          </a:endParaRPr>
        </a:p>
      </dgm:t>
    </dgm:pt>
    <dgm:pt modelId="{A7371840-8CD1-BC48-AB39-3DF41434935E}" type="parTrans" cxnId="{EED0AE81-2510-FC4B-A0A6-4CAF393EE3B6}">
      <dgm:prSet/>
      <dgm:spPr/>
      <dgm:t>
        <a:bodyPr/>
        <a:lstStyle/>
        <a:p>
          <a:endParaRPr lang="en-US"/>
        </a:p>
      </dgm:t>
    </dgm:pt>
    <dgm:pt modelId="{9E95B2D0-0EC2-8E41-98AB-E90E6978224C}" type="sibTrans" cxnId="{EED0AE81-2510-FC4B-A0A6-4CAF393EE3B6}">
      <dgm:prSet/>
      <dgm:spPr/>
      <dgm:t>
        <a:bodyPr/>
        <a:lstStyle/>
        <a:p>
          <a:endParaRPr lang="en-US"/>
        </a:p>
      </dgm:t>
    </dgm:pt>
    <dgm:pt modelId="{F64B2FDA-177B-5346-8103-DED26E396110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400" smtClean="0">
              <a:solidFill>
                <a:schemeClr val="bg1"/>
              </a:solidFill>
              <a:latin typeface="+mn-lt"/>
            </a:rPr>
            <a:t>Digital Asset</a:t>
          </a:r>
          <a:endParaRPr lang="en-US" sz="2400">
            <a:solidFill>
              <a:schemeClr val="bg1"/>
            </a:solidFill>
            <a:latin typeface="+mn-lt"/>
          </a:endParaRPr>
        </a:p>
      </dgm:t>
    </dgm:pt>
    <dgm:pt modelId="{5A4B454C-FA05-B24A-BBE7-9A2A02DB4D07}" type="parTrans" cxnId="{9AD4835B-5659-9D43-A2D2-B257E8ADF202}">
      <dgm:prSet/>
      <dgm:spPr/>
      <dgm:t>
        <a:bodyPr/>
        <a:lstStyle/>
        <a:p>
          <a:endParaRPr lang="en-US"/>
        </a:p>
      </dgm:t>
    </dgm:pt>
    <dgm:pt modelId="{F71C9A8C-57D9-AF48-95DE-F545937DD13C}" type="sibTrans" cxnId="{9AD4835B-5659-9D43-A2D2-B257E8ADF202}">
      <dgm:prSet/>
      <dgm:spPr/>
      <dgm:t>
        <a:bodyPr/>
        <a:lstStyle/>
        <a:p>
          <a:endParaRPr lang="en-US"/>
        </a:p>
      </dgm:t>
    </dgm:pt>
    <dgm:pt modelId="{B0D7B518-FAAD-DD4D-901F-B05D9DF919B0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400" smtClean="0">
              <a:solidFill>
                <a:schemeClr val="bg1"/>
              </a:solidFill>
              <a:latin typeface="+mn-lt"/>
            </a:rPr>
            <a:t>Main thing that you will do in the CMS</a:t>
          </a:r>
          <a:endParaRPr lang="en-US" sz="2400">
            <a:solidFill>
              <a:schemeClr val="bg1"/>
            </a:solidFill>
            <a:latin typeface="+mn-lt"/>
          </a:endParaRPr>
        </a:p>
      </dgm:t>
    </dgm:pt>
    <dgm:pt modelId="{F942E93E-CDD4-5C40-B835-1988665DD7EF}" type="parTrans" cxnId="{C79B872E-D318-124A-99E2-B257518D6BB6}">
      <dgm:prSet/>
      <dgm:spPr/>
      <dgm:t>
        <a:bodyPr/>
        <a:lstStyle/>
        <a:p>
          <a:endParaRPr lang="en-US"/>
        </a:p>
      </dgm:t>
    </dgm:pt>
    <dgm:pt modelId="{632AF1B4-6A1E-7A40-A4FD-F44BA15176C2}" type="sibTrans" cxnId="{C79B872E-D318-124A-99E2-B257518D6BB6}">
      <dgm:prSet/>
      <dgm:spPr/>
      <dgm:t>
        <a:bodyPr/>
        <a:lstStyle/>
        <a:p>
          <a:endParaRPr lang="en-US"/>
        </a:p>
      </dgm:t>
    </dgm:pt>
    <dgm:pt modelId="{656C7711-97A5-4F42-95CD-D4FCF9907461}" type="pres">
      <dgm:prSet presAssocID="{EB0E4327-2366-4EC3-97E9-DA703A1C1FA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8AE1637-2A84-44A2-BBF6-BCC222F16971}" type="pres">
      <dgm:prSet presAssocID="{3D5A06C8-08B7-43AC-8ADC-5E93001A7614}" presName="linNode" presStyleCnt="0"/>
      <dgm:spPr/>
    </dgm:pt>
    <dgm:pt modelId="{D5969E9E-BDE7-4A28-A584-D90E8A4CA6B0}" type="pres">
      <dgm:prSet presAssocID="{3D5A06C8-08B7-43AC-8ADC-5E93001A7614}" presName="parentText" presStyleLbl="node1" presStyleIdx="0" presStyleCnt="2" custScaleY="47813" custLinFactNeighborY="-1958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2755C6-1809-4663-A22F-C1DFB6134430}" type="pres">
      <dgm:prSet presAssocID="{3D5A06C8-08B7-43AC-8ADC-5E93001A7614}" presName="descendantText" presStyleLbl="alignAccFollowNode1" presStyleIdx="0" presStyleCnt="2" custScaleX="86358" custScaleY="4255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64CA3C-5AC3-45A4-A41E-88754237742A}" type="pres">
      <dgm:prSet presAssocID="{89914519-9608-4E26-A8A4-F17638E040D0}" presName="sp" presStyleCnt="0"/>
      <dgm:spPr/>
    </dgm:pt>
    <dgm:pt modelId="{081318AF-A2B4-4D38-9038-5E7151227B8B}" type="pres">
      <dgm:prSet presAssocID="{02A4D10A-BAC3-4850-9590-D5D2A8F118D8}" presName="linNode" presStyleCnt="0"/>
      <dgm:spPr/>
    </dgm:pt>
    <dgm:pt modelId="{BCD314F2-D66E-4D6C-8D5C-238197859DE1}" type="pres">
      <dgm:prSet presAssocID="{02A4D10A-BAC3-4850-9590-D5D2A8F118D8}" presName="parentText" presStyleLbl="node1" presStyleIdx="1" presStyleCnt="2" custScaleX="97024" custScaleY="4480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C30CE4-A575-41E2-BAB9-D3EE8DC3AB96}" type="pres">
      <dgm:prSet presAssocID="{02A4D10A-BAC3-4850-9590-D5D2A8F118D8}" presName="descendantText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D9CBDC0-5272-1E47-9142-E0BE8ECDCAA2}" type="presOf" srcId="{B0D7B518-FAAD-DD4D-901F-B05D9DF919B0}" destId="{C92755C6-1809-4663-A22F-C1DFB6134430}" srcOrd="0" destOrd="0" presId="urn:microsoft.com/office/officeart/2005/8/layout/vList5"/>
    <dgm:cxn modelId="{FF2F7C27-3975-E047-9EDC-037AB0899630}" type="presOf" srcId="{EB0E4327-2366-4EC3-97E9-DA703A1C1FA0}" destId="{656C7711-97A5-4F42-95CD-D4FCF9907461}" srcOrd="0" destOrd="0" presId="urn:microsoft.com/office/officeart/2005/8/layout/vList5"/>
    <dgm:cxn modelId="{853C9406-AB9D-454A-AE00-E7A5CB16C456}" srcId="{EB0E4327-2366-4EC3-97E9-DA703A1C1FA0}" destId="{02A4D10A-BAC3-4850-9590-D5D2A8F118D8}" srcOrd="1" destOrd="0" parTransId="{23A52DD1-478A-41A7-8622-E4F6F4F3DD68}" sibTransId="{99B712CD-4F67-4FD0-84C5-D88ADB25CED2}"/>
    <dgm:cxn modelId="{9AD4835B-5659-9D43-A2D2-B257E8ADF202}" srcId="{5BF187C3-F302-C64B-AAC3-BB3B48C1CF96}" destId="{F64B2FDA-177B-5346-8103-DED26E396110}" srcOrd="1" destOrd="0" parTransId="{5A4B454C-FA05-B24A-BBE7-9A2A02DB4D07}" sibTransId="{F71C9A8C-57D9-AF48-95DE-F545937DD13C}"/>
    <dgm:cxn modelId="{D59A1032-90C9-B24E-96B9-6B53C583D104}" type="presOf" srcId="{D90FA121-E908-4D4E-BFB8-E6641E743AA6}" destId="{8AC30CE4-A575-41E2-BAB9-D3EE8DC3AB96}" srcOrd="0" destOrd="0" presId="urn:microsoft.com/office/officeart/2005/8/layout/vList5"/>
    <dgm:cxn modelId="{7DF58651-3E8C-40D8-B14A-1EC1D4CBB248}" srcId="{3D5A06C8-08B7-43AC-8ADC-5E93001A7614}" destId="{76DE23EA-B6A6-4D12-A3E5-2F48EB31950A}" srcOrd="1" destOrd="0" parTransId="{3732DC23-EEED-4477-B5F5-89121D8FA440}" sibTransId="{2C28D166-12CD-4F7E-A09C-C22098397F1A}"/>
    <dgm:cxn modelId="{C79B872E-D318-124A-99E2-B257518D6BB6}" srcId="{3D5A06C8-08B7-43AC-8ADC-5E93001A7614}" destId="{B0D7B518-FAAD-DD4D-901F-B05D9DF919B0}" srcOrd="0" destOrd="0" parTransId="{F942E93E-CDD4-5C40-B835-1988665DD7EF}" sibTransId="{632AF1B4-6A1E-7A40-A4FD-F44BA15176C2}"/>
    <dgm:cxn modelId="{906B1A13-8BE7-8D4E-918A-3864D9590694}" type="presOf" srcId="{02A4D10A-BAC3-4850-9590-D5D2A8F118D8}" destId="{BCD314F2-D66E-4D6C-8D5C-238197859DE1}" srcOrd="0" destOrd="0" presId="urn:microsoft.com/office/officeart/2005/8/layout/vList5"/>
    <dgm:cxn modelId="{5F11EE1A-3CAC-984B-9DFC-14F40B9F013F}" type="presOf" srcId="{F64B2FDA-177B-5346-8103-DED26E396110}" destId="{8AC30CE4-A575-41E2-BAB9-D3EE8DC3AB96}" srcOrd="0" destOrd="4" presId="urn:microsoft.com/office/officeart/2005/8/layout/vList5"/>
    <dgm:cxn modelId="{045DC096-41E6-934B-9840-F6CC9DE1DA73}" srcId="{02A4D10A-BAC3-4850-9590-D5D2A8F118D8}" destId="{5BF187C3-F302-C64B-AAC3-BB3B48C1CF96}" srcOrd="2" destOrd="0" parTransId="{35401FC0-9C27-C447-9991-39666E36FC80}" sibTransId="{58131B7C-C8DC-0742-B0DD-1DBE36770409}"/>
    <dgm:cxn modelId="{9C180139-1484-4841-803B-9E2168DFF103}" srcId="{02A4D10A-BAC3-4850-9590-D5D2A8F118D8}" destId="{FBC1B59F-BEB5-4238-A352-CAF1A9786590}" srcOrd="1" destOrd="0" parTransId="{33D4F0B3-8D02-42A3-A770-B5C4B7EFA747}" sibTransId="{B8294B63-7BD0-4B40-9A8F-58A0E30B81B7}"/>
    <dgm:cxn modelId="{4F780711-FD32-0C4B-A4C7-45126D001D6E}" type="presOf" srcId="{8C8081B1-CC1B-C049-8BA3-D0FEFFD8B0FF}" destId="{8AC30CE4-A575-41E2-BAB9-D3EE8DC3AB96}" srcOrd="0" destOrd="3" presId="urn:microsoft.com/office/officeart/2005/8/layout/vList5"/>
    <dgm:cxn modelId="{2A5D72D8-91A5-4439-AA73-6E089AC80152}" srcId="{02A4D10A-BAC3-4850-9590-D5D2A8F118D8}" destId="{D90FA121-E908-4D4E-BFB8-E6641E743AA6}" srcOrd="0" destOrd="0" parTransId="{E970B7EC-330D-4F0D-B4E6-242987184F59}" sibTransId="{28613F56-5D5F-4499-8F02-BC5D17C9FEAD}"/>
    <dgm:cxn modelId="{516378D8-97F7-AD46-B6F0-955C67128C44}" type="presOf" srcId="{76DE23EA-B6A6-4D12-A3E5-2F48EB31950A}" destId="{C92755C6-1809-4663-A22F-C1DFB6134430}" srcOrd="0" destOrd="1" presId="urn:microsoft.com/office/officeart/2005/8/layout/vList5"/>
    <dgm:cxn modelId="{FAD73922-2463-2448-BEBC-88AB196474C0}" type="presOf" srcId="{5BF187C3-F302-C64B-AAC3-BB3B48C1CF96}" destId="{8AC30CE4-A575-41E2-BAB9-D3EE8DC3AB96}" srcOrd="0" destOrd="2" presId="urn:microsoft.com/office/officeart/2005/8/layout/vList5"/>
    <dgm:cxn modelId="{C0DFA53B-1F92-A745-B6F2-474F9DD3EAA2}" type="presOf" srcId="{3D5A06C8-08B7-43AC-8ADC-5E93001A7614}" destId="{D5969E9E-BDE7-4A28-A584-D90E8A4CA6B0}" srcOrd="0" destOrd="0" presId="urn:microsoft.com/office/officeart/2005/8/layout/vList5"/>
    <dgm:cxn modelId="{5B428374-AF88-4A12-8BCE-EC0C3C917AC7}" srcId="{EB0E4327-2366-4EC3-97E9-DA703A1C1FA0}" destId="{3D5A06C8-08B7-43AC-8ADC-5E93001A7614}" srcOrd="0" destOrd="0" parTransId="{639DC35B-C7B5-42D7-9909-F8117E91E553}" sibTransId="{89914519-9608-4E26-A8A4-F17638E040D0}"/>
    <dgm:cxn modelId="{16C2DB88-3047-C14D-96DE-C9D79A3F7D5F}" type="presOf" srcId="{FBC1B59F-BEB5-4238-A352-CAF1A9786590}" destId="{8AC30CE4-A575-41E2-BAB9-D3EE8DC3AB96}" srcOrd="0" destOrd="1" presId="urn:microsoft.com/office/officeart/2005/8/layout/vList5"/>
    <dgm:cxn modelId="{EED0AE81-2510-FC4B-A0A6-4CAF393EE3B6}" srcId="{5BF187C3-F302-C64B-AAC3-BB3B48C1CF96}" destId="{8C8081B1-CC1B-C049-8BA3-D0FEFFD8B0FF}" srcOrd="0" destOrd="0" parTransId="{A7371840-8CD1-BC48-AB39-3DF41434935E}" sibTransId="{9E95B2D0-0EC2-8E41-98AB-E90E6978224C}"/>
    <dgm:cxn modelId="{BCC9F173-E393-254E-90D9-768DE3D2F742}" type="presParOf" srcId="{656C7711-97A5-4F42-95CD-D4FCF9907461}" destId="{58AE1637-2A84-44A2-BBF6-BCC222F16971}" srcOrd="0" destOrd="0" presId="urn:microsoft.com/office/officeart/2005/8/layout/vList5"/>
    <dgm:cxn modelId="{393AD37E-A175-614E-A705-9B725DAE4621}" type="presParOf" srcId="{58AE1637-2A84-44A2-BBF6-BCC222F16971}" destId="{D5969E9E-BDE7-4A28-A584-D90E8A4CA6B0}" srcOrd="0" destOrd="0" presId="urn:microsoft.com/office/officeart/2005/8/layout/vList5"/>
    <dgm:cxn modelId="{1DD68BD6-C75A-9247-830F-C589C17B5D92}" type="presParOf" srcId="{58AE1637-2A84-44A2-BBF6-BCC222F16971}" destId="{C92755C6-1809-4663-A22F-C1DFB6134430}" srcOrd="1" destOrd="0" presId="urn:microsoft.com/office/officeart/2005/8/layout/vList5"/>
    <dgm:cxn modelId="{F5D66752-63FB-B240-881D-42E97396C0F6}" type="presParOf" srcId="{656C7711-97A5-4F42-95CD-D4FCF9907461}" destId="{0C64CA3C-5AC3-45A4-A41E-88754237742A}" srcOrd="1" destOrd="0" presId="urn:microsoft.com/office/officeart/2005/8/layout/vList5"/>
    <dgm:cxn modelId="{4EE74A3A-EF46-7645-A445-784367777C4A}" type="presParOf" srcId="{656C7711-97A5-4F42-95CD-D4FCF9907461}" destId="{081318AF-A2B4-4D38-9038-5E7151227B8B}" srcOrd="2" destOrd="0" presId="urn:microsoft.com/office/officeart/2005/8/layout/vList5"/>
    <dgm:cxn modelId="{60D7EED9-D0B3-AA44-91E9-24C9A9F656D0}" type="presParOf" srcId="{081318AF-A2B4-4D38-9038-5E7151227B8B}" destId="{BCD314F2-D66E-4D6C-8D5C-238197859DE1}" srcOrd="0" destOrd="0" presId="urn:microsoft.com/office/officeart/2005/8/layout/vList5"/>
    <dgm:cxn modelId="{E3EF895E-09DF-BA4C-BE7E-09A607AD0838}" type="presParOf" srcId="{081318AF-A2B4-4D38-9038-5E7151227B8B}" destId="{8AC30CE4-A575-41E2-BAB9-D3EE8DC3AB9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B0E4327-2366-4EC3-97E9-DA703A1C1FA0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D5A06C8-08B7-43AC-8ADC-5E93001A7614}">
      <dgm:prSet phldrT="[Text]" custT="1"/>
      <dgm:spPr>
        <a:ln>
          <a:solidFill>
            <a:schemeClr val="bg1"/>
          </a:solidFill>
        </a:ln>
      </dgm:spPr>
      <dgm:t>
        <a:bodyPr/>
        <a:lstStyle/>
        <a:p>
          <a:r>
            <a:rPr lang="en-US" sz="3200" smtClean="0">
              <a:latin typeface="+mj-lt"/>
            </a:rPr>
            <a:t>Templated Asset</a:t>
          </a:r>
          <a:endParaRPr lang="en-US" sz="3200">
            <a:latin typeface="+mj-lt"/>
          </a:endParaRPr>
        </a:p>
      </dgm:t>
    </dgm:pt>
    <dgm:pt modelId="{639DC35B-C7B5-42D7-9909-F8117E91E553}" type="parTrans" cxnId="{5B428374-AF88-4A12-8BCE-EC0C3C917AC7}">
      <dgm:prSet/>
      <dgm:spPr/>
      <dgm:t>
        <a:bodyPr/>
        <a:lstStyle/>
        <a:p>
          <a:endParaRPr lang="en-US"/>
        </a:p>
      </dgm:t>
    </dgm:pt>
    <dgm:pt modelId="{89914519-9608-4E26-A8A4-F17638E040D0}" type="sibTrans" cxnId="{5B428374-AF88-4A12-8BCE-EC0C3C917AC7}">
      <dgm:prSet/>
      <dgm:spPr/>
      <dgm:t>
        <a:bodyPr/>
        <a:lstStyle/>
        <a:p>
          <a:endParaRPr lang="en-US"/>
        </a:p>
      </dgm:t>
    </dgm:pt>
    <dgm:pt modelId="{76DE23EA-B6A6-4D12-A3E5-2F48EB31950A}">
      <dgm:prSet phldrT="[Text]"/>
      <dgm:spPr>
        <a:noFill/>
        <a:ln>
          <a:noFill/>
        </a:ln>
      </dgm:spPr>
      <dgm:t>
        <a:bodyPr/>
        <a:lstStyle/>
        <a:p>
          <a:r>
            <a:rPr lang="en-US" smtClean="0">
              <a:solidFill>
                <a:schemeClr val="bg1"/>
              </a:solidFill>
              <a:latin typeface="+mn-lt"/>
            </a:rPr>
            <a:t>Stored content</a:t>
          </a:r>
          <a:endParaRPr lang="en-US">
            <a:solidFill>
              <a:schemeClr val="bg1"/>
            </a:solidFill>
            <a:latin typeface="+mn-lt"/>
          </a:endParaRPr>
        </a:p>
      </dgm:t>
    </dgm:pt>
    <dgm:pt modelId="{3732DC23-EEED-4477-B5F5-89121D8FA440}" type="parTrans" cxnId="{7DF58651-3E8C-40D8-B14A-1EC1D4CBB248}">
      <dgm:prSet/>
      <dgm:spPr/>
      <dgm:t>
        <a:bodyPr/>
        <a:lstStyle/>
        <a:p>
          <a:endParaRPr lang="en-US"/>
        </a:p>
      </dgm:t>
    </dgm:pt>
    <dgm:pt modelId="{2C28D166-12CD-4F7E-A09C-C22098397F1A}" type="sibTrans" cxnId="{7DF58651-3E8C-40D8-B14A-1EC1D4CBB248}">
      <dgm:prSet/>
      <dgm:spPr/>
      <dgm:t>
        <a:bodyPr/>
        <a:lstStyle/>
        <a:p>
          <a:endParaRPr lang="en-US"/>
        </a:p>
      </dgm:t>
    </dgm:pt>
    <dgm:pt modelId="{02A4D10A-BAC3-4850-9590-D5D2A8F118D8}">
      <dgm:prSet phldrT="[Text]" custT="1"/>
      <dgm:spPr>
        <a:solidFill>
          <a:schemeClr val="tx1"/>
        </a:solidFill>
        <a:ln>
          <a:solidFill>
            <a:schemeClr val="bg1"/>
          </a:solidFill>
        </a:ln>
      </dgm:spPr>
      <dgm:t>
        <a:bodyPr/>
        <a:lstStyle/>
        <a:p>
          <a:r>
            <a:rPr lang="en-US" sz="3200" smtClean="0">
              <a:latin typeface="+mj-lt"/>
            </a:rPr>
            <a:t>Digital Asset</a:t>
          </a:r>
          <a:endParaRPr lang="en-US" sz="3200">
            <a:latin typeface="+mj-lt"/>
          </a:endParaRPr>
        </a:p>
      </dgm:t>
    </dgm:pt>
    <dgm:pt modelId="{23A52DD1-478A-41A7-8622-E4F6F4F3DD68}" type="parTrans" cxnId="{853C9406-AB9D-454A-AE00-E7A5CB16C456}">
      <dgm:prSet/>
      <dgm:spPr/>
      <dgm:t>
        <a:bodyPr/>
        <a:lstStyle/>
        <a:p>
          <a:endParaRPr lang="en-US"/>
        </a:p>
      </dgm:t>
    </dgm:pt>
    <dgm:pt modelId="{99B712CD-4F67-4FD0-84C5-D88ADB25CED2}" type="sibTrans" cxnId="{853C9406-AB9D-454A-AE00-E7A5CB16C456}">
      <dgm:prSet/>
      <dgm:spPr/>
      <dgm:t>
        <a:bodyPr/>
        <a:lstStyle/>
        <a:p>
          <a:endParaRPr lang="en-US"/>
        </a:p>
      </dgm:t>
    </dgm:pt>
    <dgm:pt modelId="{D90FA121-E908-4D4E-BFB8-E6641E743AA6}">
      <dgm:prSet phldrT="[Text]"/>
      <dgm:spPr>
        <a:noFill/>
        <a:ln>
          <a:noFill/>
        </a:ln>
      </dgm:spPr>
      <dgm:t>
        <a:bodyPr/>
        <a:lstStyle/>
        <a:p>
          <a:r>
            <a:rPr lang="en-US" smtClean="0">
              <a:solidFill>
                <a:schemeClr val="bg1"/>
              </a:solidFill>
              <a:latin typeface="+mn-lt"/>
            </a:rPr>
            <a:t>Binary Asset – PDF, Images, JS, CSS etc</a:t>
          </a:r>
          <a:endParaRPr lang="en-US">
            <a:solidFill>
              <a:schemeClr val="bg1"/>
            </a:solidFill>
            <a:latin typeface="+mn-lt"/>
          </a:endParaRPr>
        </a:p>
      </dgm:t>
    </dgm:pt>
    <dgm:pt modelId="{E970B7EC-330D-4F0D-B4E6-242987184F59}" type="parTrans" cxnId="{2A5D72D8-91A5-4439-AA73-6E089AC80152}">
      <dgm:prSet/>
      <dgm:spPr/>
      <dgm:t>
        <a:bodyPr/>
        <a:lstStyle/>
        <a:p>
          <a:endParaRPr lang="en-US"/>
        </a:p>
      </dgm:t>
    </dgm:pt>
    <dgm:pt modelId="{28613F56-5D5F-4499-8F02-BC5D17C9FEAD}" type="sibTrans" cxnId="{2A5D72D8-91A5-4439-AA73-6E089AC80152}">
      <dgm:prSet/>
      <dgm:spPr/>
      <dgm:t>
        <a:bodyPr/>
        <a:lstStyle/>
        <a:p>
          <a:endParaRPr lang="en-US"/>
        </a:p>
      </dgm:t>
    </dgm:pt>
    <dgm:pt modelId="{B2F75283-233D-4A85-80B1-312092F77F40}">
      <dgm:prSet phldrT="[Text]"/>
      <dgm:spPr>
        <a:noFill/>
        <a:ln>
          <a:noFill/>
        </a:ln>
      </dgm:spPr>
      <dgm:t>
        <a:bodyPr/>
        <a:lstStyle/>
        <a:p>
          <a:r>
            <a:rPr lang="en-US" smtClean="0">
              <a:solidFill>
                <a:schemeClr val="bg1"/>
              </a:solidFill>
              <a:latin typeface="+mn-lt"/>
            </a:rPr>
            <a:t>Usually stored in the /Assets/ directory</a:t>
          </a:r>
          <a:endParaRPr lang="en-US">
            <a:solidFill>
              <a:schemeClr val="bg1"/>
            </a:solidFill>
            <a:latin typeface="+mn-lt"/>
          </a:endParaRPr>
        </a:p>
      </dgm:t>
    </dgm:pt>
    <dgm:pt modelId="{79A925BB-F4AE-499B-BEE2-2A05B41D2A3D}" type="parTrans" cxnId="{CE39F9C1-1B28-43C0-9964-610D185AD89D}">
      <dgm:prSet/>
      <dgm:spPr/>
      <dgm:t>
        <a:bodyPr/>
        <a:lstStyle/>
        <a:p>
          <a:endParaRPr lang="en-US"/>
        </a:p>
      </dgm:t>
    </dgm:pt>
    <dgm:pt modelId="{DCCF28DA-D24E-4756-B626-370DF37D4301}" type="sibTrans" cxnId="{CE39F9C1-1B28-43C0-9964-610D185AD89D}">
      <dgm:prSet/>
      <dgm:spPr/>
      <dgm:t>
        <a:bodyPr/>
        <a:lstStyle/>
        <a:p>
          <a:endParaRPr lang="en-US"/>
        </a:p>
      </dgm:t>
    </dgm:pt>
    <dgm:pt modelId="{255271CB-4CAE-A041-A172-0638FAE9EDAD}">
      <dgm:prSet phldrT="[Text]"/>
      <dgm:spPr>
        <a:noFill/>
        <a:ln>
          <a:noFill/>
        </a:ln>
      </dgm:spPr>
      <dgm:t>
        <a:bodyPr/>
        <a:lstStyle/>
        <a:p>
          <a:r>
            <a:rPr lang="en-US" smtClean="0">
              <a:solidFill>
                <a:schemeClr val="bg1"/>
              </a:solidFill>
              <a:latin typeface="+mn-lt"/>
            </a:rPr>
            <a:t>Output controlled by Templates</a:t>
          </a:r>
          <a:endParaRPr lang="en-US">
            <a:solidFill>
              <a:schemeClr val="bg1"/>
            </a:solidFill>
            <a:latin typeface="+mn-lt"/>
          </a:endParaRPr>
        </a:p>
      </dgm:t>
    </dgm:pt>
    <dgm:pt modelId="{E82445EC-62B5-DE4D-AA2B-AACE4A2DFF63}" type="parTrans" cxnId="{169D2BBC-9761-DF41-887F-E33C24CD73A8}">
      <dgm:prSet/>
      <dgm:spPr/>
      <dgm:t>
        <a:bodyPr/>
        <a:lstStyle/>
        <a:p>
          <a:endParaRPr lang="en-US"/>
        </a:p>
      </dgm:t>
    </dgm:pt>
    <dgm:pt modelId="{5579CCE3-6B89-6645-A6D2-8EB580FC993B}" type="sibTrans" cxnId="{169D2BBC-9761-DF41-887F-E33C24CD73A8}">
      <dgm:prSet/>
      <dgm:spPr/>
      <dgm:t>
        <a:bodyPr/>
        <a:lstStyle/>
        <a:p>
          <a:endParaRPr lang="en-US"/>
        </a:p>
      </dgm:t>
    </dgm:pt>
    <dgm:pt modelId="{6E64E5A7-BE7B-4E4D-849F-D4EB43B6E1D2}">
      <dgm:prSet phldrT="[Text]"/>
      <dgm:spPr>
        <a:noFill/>
        <a:ln>
          <a:noFill/>
        </a:ln>
      </dgm:spPr>
      <dgm:t>
        <a:bodyPr/>
        <a:lstStyle/>
        <a:p>
          <a:r>
            <a:rPr lang="en-US" smtClean="0">
              <a:solidFill>
                <a:schemeClr val="bg1"/>
              </a:solidFill>
              <a:latin typeface="+mn-lt"/>
            </a:rPr>
            <a:t>Can publish pages, widgets, or used for configuration</a:t>
          </a:r>
          <a:endParaRPr lang="en-US">
            <a:solidFill>
              <a:schemeClr val="bg1"/>
            </a:solidFill>
            <a:latin typeface="+mn-lt"/>
          </a:endParaRPr>
        </a:p>
      </dgm:t>
    </dgm:pt>
    <dgm:pt modelId="{8EB1609A-7FF1-A641-97E0-8DACD4922068}" type="parTrans" cxnId="{DC42EBCC-030D-F548-B985-3FC1B406D6F0}">
      <dgm:prSet/>
      <dgm:spPr/>
      <dgm:t>
        <a:bodyPr/>
        <a:lstStyle/>
        <a:p>
          <a:endParaRPr lang="en-US"/>
        </a:p>
      </dgm:t>
    </dgm:pt>
    <dgm:pt modelId="{9EA512F2-308E-C74A-8F30-A20F3F82F072}" type="sibTrans" cxnId="{DC42EBCC-030D-F548-B985-3FC1B406D6F0}">
      <dgm:prSet/>
      <dgm:spPr/>
      <dgm:t>
        <a:bodyPr/>
        <a:lstStyle/>
        <a:p>
          <a:endParaRPr lang="en-US"/>
        </a:p>
      </dgm:t>
    </dgm:pt>
    <dgm:pt modelId="{656C7711-97A5-4F42-95CD-D4FCF9907461}" type="pres">
      <dgm:prSet presAssocID="{EB0E4327-2366-4EC3-97E9-DA703A1C1FA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8AE1637-2A84-44A2-BBF6-BCC222F16971}" type="pres">
      <dgm:prSet presAssocID="{3D5A06C8-08B7-43AC-8ADC-5E93001A7614}" presName="linNode" presStyleCnt="0"/>
      <dgm:spPr/>
    </dgm:pt>
    <dgm:pt modelId="{D5969E9E-BDE7-4A28-A584-D90E8A4CA6B0}" type="pres">
      <dgm:prSet presAssocID="{3D5A06C8-08B7-43AC-8ADC-5E93001A7614}" presName="parentText" presStyleLbl="node1" presStyleIdx="0" presStyleCnt="2" custScaleX="72662" custLinFactNeighborY="-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2755C6-1809-4663-A22F-C1DFB6134430}" type="pres">
      <dgm:prSet presAssocID="{3D5A06C8-08B7-43AC-8ADC-5E93001A7614}" presName="descendantText" presStyleLbl="alignAccFollowNode1" presStyleIdx="0" presStyleCnt="2" custLinFactNeighborX="8846" custLinFactNeighborY="6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64CA3C-5AC3-45A4-A41E-88754237742A}" type="pres">
      <dgm:prSet presAssocID="{89914519-9608-4E26-A8A4-F17638E040D0}" presName="sp" presStyleCnt="0"/>
      <dgm:spPr/>
    </dgm:pt>
    <dgm:pt modelId="{081318AF-A2B4-4D38-9038-5E7151227B8B}" type="pres">
      <dgm:prSet presAssocID="{02A4D10A-BAC3-4850-9590-D5D2A8F118D8}" presName="linNode" presStyleCnt="0"/>
      <dgm:spPr/>
    </dgm:pt>
    <dgm:pt modelId="{BCD314F2-D66E-4D6C-8D5C-238197859DE1}" type="pres">
      <dgm:prSet presAssocID="{02A4D10A-BAC3-4850-9590-D5D2A8F118D8}" presName="parentText" presStyleLbl="node1" presStyleIdx="1" presStyleCnt="2" custScaleX="73094" custLinFactNeighborX="45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C30CE4-A575-41E2-BAB9-D3EE8DC3AB96}" type="pres">
      <dgm:prSet presAssocID="{02A4D10A-BAC3-4850-9590-D5D2A8F118D8}" presName="descendantText" presStyleLbl="alignAccFollowNode1" presStyleIdx="1" presStyleCnt="2" custScaleX="102677" custLinFactNeighborX="9253" custLinFactNeighborY="6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C42EBCC-030D-F548-B985-3FC1B406D6F0}" srcId="{3D5A06C8-08B7-43AC-8ADC-5E93001A7614}" destId="{6E64E5A7-BE7B-4E4D-849F-D4EB43B6E1D2}" srcOrd="2" destOrd="0" parTransId="{8EB1609A-7FF1-A641-97E0-8DACD4922068}" sibTransId="{9EA512F2-308E-C74A-8F30-A20F3F82F072}"/>
    <dgm:cxn modelId="{B1BC0576-59BE-3C49-9B14-7C433C12BEB3}" type="presOf" srcId="{D90FA121-E908-4D4E-BFB8-E6641E743AA6}" destId="{8AC30CE4-A575-41E2-BAB9-D3EE8DC3AB96}" srcOrd="0" destOrd="0" presId="urn:microsoft.com/office/officeart/2005/8/layout/vList5"/>
    <dgm:cxn modelId="{853C9406-AB9D-454A-AE00-E7A5CB16C456}" srcId="{EB0E4327-2366-4EC3-97E9-DA703A1C1FA0}" destId="{02A4D10A-BAC3-4850-9590-D5D2A8F118D8}" srcOrd="1" destOrd="0" parTransId="{23A52DD1-478A-41A7-8622-E4F6F4F3DD68}" sibTransId="{99B712CD-4F67-4FD0-84C5-D88ADB25CED2}"/>
    <dgm:cxn modelId="{7DF58651-3E8C-40D8-B14A-1EC1D4CBB248}" srcId="{3D5A06C8-08B7-43AC-8ADC-5E93001A7614}" destId="{76DE23EA-B6A6-4D12-A3E5-2F48EB31950A}" srcOrd="0" destOrd="0" parTransId="{3732DC23-EEED-4477-B5F5-89121D8FA440}" sibTransId="{2C28D166-12CD-4F7E-A09C-C22098397F1A}"/>
    <dgm:cxn modelId="{3804B7A2-4070-7D44-A22A-268FEE26891A}" type="presOf" srcId="{EB0E4327-2366-4EC3-97E9-DA703A1C1FA0}" destId="{656C7711-97A5-4F42-95CD-D4FCF9907461}" srcOrd="0" destOrd="0" presId="urn:microsoft.com/office/officeart/2005/8/layout/vList5"/>
    <dgm:cxn modelId="{8074EC8B-7E93-BE44-978C-FB240C4465FB}" type="presOf" srcId="{02A4D10A-BAC3-4850-9590-D5D2A8F118D8}" destId="{BCD314F2-D66E-4D6C-8D5C-238197859DE1}" srcOrd="0" destOrd="0" presId="urn:microsoft.com/office/officeart/2005/8/layout/vList5"/>
    <dgm:cxn modelId="{199554AE-8855-FD4D-B1BA-259EB95B6F26}" type="presOf" srcId="{3D5A06C8-08B7-43AC-8ADC-5E93001A7614}" destId="{D5969E9E-BDE7-4A28-A584-D90E8A4CA6B0}" srcOrd="0" destOrd="0" presId="urn:microsoft.com/office/officeart/2005/8/layout/vList5"/>
    <dgm:cxn modelId="{0929FC81-F253-E244-877D-7E8CF7208220}" type="presOf" srcId="{B2F75283-233D-4A85-80B1-312092F77F40}" destId="{8AC30CE4-A575-41E2-BAB9-D3EE8DC3AB96}" srcOrd="0" destOrd="1" presId="urn:microsoft.com/office/officeart/2005/8/layout/vList5"/>
    <dgm:cxn modelId="{27D692F1-FE12-2C45-AF05-6E2D716E067F}" type="presOf" srcId="{255271CB-4CAE-A041-A172-0638FAE9EDAD}" destId="{C92755C6-1809-4663-A22F-C1DFB6134430}" srcOrd="0" destOrd="1" presId="urn:microsoft.com/office/officeart/2005/8/layout/vList5"/>
    <dgm:cxn modelId="{2A5D72D8-91A5-4439-AA73-6E089AC80152}" srcId="{02A4D10A-BAC3-4850-9590-D5D2A8F118D8}" destId="{D90FA121-E908-4D4E-BFB8-E6641E743AA6}" srcOrd="0" destOrd="0" parTransId="{E970B7EC-330D-4F0D-B4E6-242987184F59}" sibTransId="{28613F56-5D5F-4499-8F02-BC5D17C9FEAD}"/>
    <dgm:cxn modelId="{9AE5592E-335B-4343-8FF1-B6D40D69A7A7}" type="presOf" srcId="{6E64E5A7-BE7B-4E4D-849F-D4EB43B6E1D2}" destId="{C92755C6-1809-4663-A22F-C1DFB6134430}" srcOrd="0" destOrd="2" presId="urn:microsoft.com/office/officeart/2005/8/layout/vList5"/>
    <dgm:cxn modelId="{5B428374-AF88-4A12-8BCE-EC0C3C917AC7}" srcId="{EB0E4327-2366-4EC3-97E9-DA703A1C1FA0}" destId="{3D5A06C8-08B7-43AC-8ADC-5E93001A7614}" srcOrd="0" destOrd="0" parTransId="{639DC35B-C7B5-42D7-9909-F8117E91E553}" sibTransId="{89914519-9608-4E26-A8A4-F17638E040D0}"/>
    <dgm:cxn modelId="{F4799906-2077-954D-B5E8-6C54D073789A}" type="presOf" srcId="{76DE23EA-B6A6-4D12-A3E5-2F48EB31950A}" destId="{C92755C6-1809-4663-A22F-C1DFB6134430}" srcOrd="0" destOrd="0" presId="urn:microsoft.com/office/officeart/2005/8/layout/vList5"/>
    <dgm:cxn modelId="{CE39F9C1-1B28-43C0-9964-610D185AD89D}" srcId="{02A4D10A-BAC3-4850-9590-D5D2A8F118D8}" destId="{B2F75283-233D-4A85-80B1-312092F77F40}" srcOrd="1" destOrd="0" parTransId="{79A925BB-F4AE-499B-BEE2-2A05B41D2A3D}" sibTransId="{DCCF28DA-D24E-4756-B626-370DF37D4301}"/>
    <dgm:cxn modelId="{169D2BBC-9761-DF41-887F-E33C24CD73A8}" srcId="{3D5A06C8-08B7-43AC-8ADC-5E93001A7614}" destId="{255271CB-4CAE-A041-A172-0638FAE9EDAD}" srcOrd="1" destOrd="0" parTransId="{E82445EC-62B5-DE4D-AA2B-AACE4A2DFF63}" sibTransId="{5579CCE3-6B89-6645-A6D2-8EB580FC993B}"/>
    <dgm:cxn modelId="{85B33EDA-305A-7F4F-988F-A069BF6D37B6}" type="presParOf" srcId="{656C7711-97A5-4F42-95CD-D4FCF9907461}" destId="{58AE1637-2A84-44A2-BBF6-BCC222F16971}" srcOrd="0" destOrd="0" presId="urn:microsoft.com/office/officeart/2005/8/layout/vList5"/>
    <dgm:cxn modelId="{A1174E04-239D-A142-A52E-D989FE29AEC5}" type="presParOf" srcId="{58AE1637-2A84-44A2-BBF6-BCC222F16971}" destId="{D5969E9E-BDE7-4A28-A584-D90E8A4CA6B0}" srcOrd="0" destOrd="0" presId="urn:microsoft.com/office/officeart/2005/8/layout/vList5"/>
    <dgm:cxn modelId="{1D98CC20-2404-084C-B6B4-81C114534A6B}" type="presParOf" srcId="{58AE1637-2A84-44A2-BBF6-BCC222F16971}" destId="{C92755C6-1809-4663-A22F-C1DFB6134430}" srcOrd="1" destOrd="0" presId="urn:microsoft.com/office/officeart/2005/8/layout/vList5"/>
    <dgm:cxn modelId="{F32FAD79-1EE1-9F46-A459-06BF47F47DEA}" type="presParOf" srcId="{656C7711-97A5-4F42-95CD-D4FCF9907461}" destId="{0C64CA3C-5AC3-45A4-A41E-88754237742A}" srcOrd="1" destOrd="0" presId="urn:microsoft.com/office/officeart/2005/8/layout/vList5"/>
    <dgm:cxn modelId="{9D854BAE-CA08-BD46-89AE-D59A300C0F7E}" type="presParOf" srcId="{656C7711-97A5-4F42-95CD-D4FCF9907461}" destId="{081318AF-A2B4-4D38-9038-5E7151227B8B}" srcOrd="2" destOrd="0" presId="urn:microsoft.com/office/officeart/2005/8/layout/vList5"/>
    <dgm:cxn modelId="{03948229-C9C7-9C44-BF29-7752C0EE7B9D}" type="presParOf" srcId="{081318AF-A2B4-4D38-9038-5E7151227B8B}" destId="{BCD314F2-D66E-4D6C-8D5C-238197859DE1}" srcOrd="0" destOrd="0" presId="urn:microsoft.com/office/officeart/2005/8/layout/vList5"/>
    <dgm:cxn modelId="{B395D3A1-E12E-014A-A2AA-B726264E0836}" type="presParOf" srcId="{081318AF-A2B4-4D38-9038-5E7151227B8B}" destId="{8AC30CE4-A575-41E2-BAB9-D3EE8DC3AB9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B0E4327-2366-4EC3-97E9-DA703A1C1FA0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D5A06C8-08B7-43AC-8ADC-5E93001A7614}">
      <dgm:prSet phldrT="[Text]" custT="1"/>
      <dgm:spPr>
        <a:ln>
          <a:solidFill>
            <a:schemeClr val="bg1"/>
          </a:solidFill>
        </a:ln>
      </dgm:spPr>
      <dgm:t>
        <a:bodyPr/>
        <a:lstStyle/>
        <a:p>
          <a:r>
            <a:rPr lang="en-US" sz="3200" smtClean="0">
              <a:latin typeface="+mn-lt"/>
            </a:rPr>
            <a:t>Model</a:t>
          </a:r>
          <a:endParaRPr lang="en-US" sz="3200">
            <a:latin typeface="+mn-lt"/>
          </a:endParaRPr>
        </a:p>
      </dgm:t>
    </dgm:pt>
    <dgm:pt modelId="{639DC35B-C7B5-42D7-9909-F8117E91E553}" type="parTrans" cxnId="{5B428374-AF88-4A12-8BCE-EC0C3C917AC7}">
      <dgm:prSet/>
      <dgm:spPr/>
      <dgm:t>
        <a:bodyPr/>
        <a:lstStyle/>
        <a:p>
          <a:endParaRPr lang="en-US"/>
        </a:p>
      </dgm:t>
    </dgm:pt>
    <dgm:pt modelId="{89914519-9608-4E26-A8A4-F17638E040D0}" type="sibTrans" cxnId="{5B428374-AF88-4A12-8BCE-EC0C3C917AC7}">
      <dgm:prSet/>
      <dgm:spPr/>
      <dgm:t>
        <a:bodyPr/>
        <a:lstStyle/>
        <a:p>
          <a:endParaRPr lang="en-US"/>
        </a:p>
      </dgm:t>
    </dgm:pt>
    <dgm:pt modelId="{76DE23EA-B6A6-4D12-A3E5-2F48EB31950A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000" smtClean="0">
              <a:solidFill>
                <a:schemeClr val="bg1"/>
              </a:solidFill>
              <a:latin typeface="+mn-lt"/>
            </a:rPr>
            <a:t>Blueprint for content creation, which defines the option in New Menu</a:t>
          </a:r>
          <a:br>
            <a:rPr lang="en-US" sz="2000" smtClean="0">
              <a:solidFill>
                <a:schemeClr val="bg1"/>
              </a:solidFill>
              <a:latin typeface="+mn-lt"/>
            </a:rPr>
          </a:br>
          <a:endParaRPr lang="en-US" sz="2000">
            <a:solidFill>
              <a:schemeClr val="bg1"/>
            </a:solidFill>
            <a:latin typeface="+mn-lt"/>
          </a:endParaRPr>
        </a:p>
      </dgm:t>
    </dgm:pt>
    <dgm:pt modelId="{3732DC23-EEED-4477-B5F5-89121D8FA440}" type="parTrans" cxnId="{7DF58651-3E8C-40D8-B14A-1EC1D4CBB248}">
      <dgm:prSet/>
      <dgm:spPr/>
      <dgm:t>
        <a:bodyPr/>
        <a:lstStyle/>
        <a:p>
          <a:endParaRPr lang="en-US"/>
        </a:p>
      </dgm:t>
    </dgm:pt>
    <dgm:pt modelId="{2C28D166-12CD-4F7E-A09C-C22098397F1A}" type="sibTrans" cxnId="{7DF58651-3E8C-40D8-B14A-1EC1D4CBB248}">
      <dgm:prSet/>
      <dgm:spPr/>
      <dgm:t>
        <a:bodyPr/>
        <a:lstStyle/>
        <a:p>
          <a:endParaRPr lang="en-US"/>
        </a:p>
      </dgm:t>
    </dgm:pt>
    <dgm:pt modelId="{CB3D8099-51F6-4919-A27B-FBFC391AF476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000" smtClean="0">
              <a:solidFill>
                <a:schemeClr val="bg1"/>
              </a:solidFill>
              <a:latin typeface="+mn-lt"/>
            </a:rPr>
            <a:t>Configured by Developers </a:t>
          </a:r>
          <a:r>
            <a:rPr lang="mr-IN" sz="2000" smtClean="0">
              <a:solidFill>
                <a:schemeClr val="bg1"/>
              </a:solidFill>
              <a:latin typeface="+mn-lt"/>
            </a:rPr>
            <a:t>–</a:t>
          </a:r>
          <a:r>
            <a:rPr lang="en-US" sz="2000" smtClean="0">
              <a:solidFill>
                <a:schemeClr val="bg1"/>
              </a:solidFill>
              <a:latin typeface="+mn-lt"/>
            </a:rPr>
            <a:t> Simplifying content creation for authors</a:t>
          </a:r>
          <a:br>
            <a:rPr lang="en-US" sz="2000" smtClean="0">
              <a:solidFill>
                <a:schemeClr val="bg1"/>
              </a:solidFill>
              <a:latin typeface="+mn-lt"/>
            </a:rPr>
          </a:br>
          <a:endParaRPr lang="en-US" sz="2000">
            <a:solidFill>
              <a:schemeClr val="bg1"/>
            </a:solidFill>
            <a:latin typeface="+mn-lt"/>
          </a:endParaRPr>
        </a:p>
      </dgm:t>
    </dgm:pt>
    <dgm:pt modelId="{6168264F-3487-4568-AF68-79E4962522AC}" type="parTrans" cxnId="{1B6A074C-E59D-498E-8F16-084137F0C397}">
      <dgm:prSet/>
      <dgm:spPr/>
      <dgm:t>
        <a:bodyPr/>
        <a:lstStyle/>
        <a:p>
          <a:endParaRPr lang="en-US"/>
        </a:p>
      </dgm:t>
    </dgm:pt>
    <dgm:pt modelId="{83457E85-EFDA-4FBB-9FF3-3B7024D42259}" type="sibTrans" cxnId="{1B6A074C-E59D-498E-8F16-084137F0C397}">
      <dgm:prSet/>
      <dgm:spPr/>
      <dgm:t>
        <a:bodyPr/>
        <a:lstStyle/>
        <a:p>
          <a:endParaRPr lang="en-US"/>
        </a:p>
      </dgm:t>
    </dgm:pt>
    <dgm:pt modelId="{95A3704E-3474-40D4-A769-3C07E130DE07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000" smtClean="0">
              <a:solidFill>
                <a:schemeClr val="bg1"/>
              </a:solidFill>
              <a:latin typeface="+mn-lt"/>
            </a:rPr>
            <a:t>Controls template, access, and workflow for new content</a:t>
          </a:r>
          <a:endParaRPr lang="en-US" sz="2000">
            <a:solidFill>
              <a:schemeClr val="bg1"/>
            </a:solidFill>
            <a:latin typeface="+mn-lt"/>
          </a:endParaRPr>
        </a:p>
      </dgm:t>
    </dgm:pt>
    <dgm:pt modelId="{C0FF040F-4F46-4A44-BB0D-948340576362}" type="parTrans" cxnId="{EE5DCAC8-A962-4129-8AF9-01C803D8AE7D}">
      <dgm:prSet/>
      <dgm:spPr/>
      <dgm:t>
        <a:bodyPr/>
        <a:lstStyle/>
        <a:p>
          <a:endParaRPr lang="en-US"/>
        </a:p>
      </dgm:t>
    </dgm:pt>
    <dgm:pt modelId="{AA64E530-4138-4E1C-9F68-DEAA429A2505}" type="sibTrans" cxnId="{EE5DCAC8-A962-4129-8AF9-01C803D8AE7D}">
      <dgm:prSet/>
      <dgm:spPr/>
      <dgm:t>
        <a:bodyPr/>
        <a:lstStyle/>
        <a:p>
          <a:endParaRPr lang="en-US"/>
        </a:p>
      </dgm:t>
    </dgm:pt>
    <dgm:pt modelId="{54E23423-8441-A84B-B9DF-C385602507E5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000" smtClean="0">
              <a:solidFill>
                <a:schemeClr val="bg1"/>
              </a:solidFill>
              <a:latin typeface="+mn-lt"/>
            </a:rPr>
            <a:t>Models can provide blueprints for a single page, multiple pages or an entire site structure</a:t>
          </a:r>
          <a:endParaRPr lang="en-US" sz="2000">
            <a:solidFill>
              <a:schemeClr val="bg1"/>
            </a:solidFill>
            <a:latin typeface="+mn-lt"/>
          </a:endParaRPr>
        </a:p>
      </dgm:t>
    </dgm:pt>
    <dgm:pt modelId="{8386AA96-98DF-9042-8C7E-4BE363D444AF}" type="parTrans" cxnId="{A72C718B-CA8B-0140-AC59-E6C00F9FED97}">
      <dgm:prSet/>
      <dgm:spPr/>
      <dgm:t>
        <a:bodyPr/>
        <a:lstStyle/>
        <a:p>
          <a:endParaRPr lang="en-US"/>
        </a:p>
      </dgm:t>
    </dgm:pt>
    <dgm:pt modelId="{B5755F20-D0C6-804A-8F33-DD836D6C1161}" type="sibTrans" cxnId="{A72C718B-CA8B-0140-AC59-E6C00F9FED97}">
      <dgm:prSet/>
      <dgm:spPr/>
      <dgm:t>
        <a:bodyPr/>
        <a:lstStyle/>
        <a:p>
          <a:endParaRPr lang="en-US"/>
        </a:p>
      </dgm:t>
    </dgm:pt>
    <dgm:pt modelId="{34B37FDC-2413-D24B-BF92-94C4387A00DC}">
      <dgm:prSet phldrT="[Text]" custT="1"/>
      <dgm:spPr>
        <a:noFill/>
        <a:ln>
          <a:noFill/>
        </a:ln>
      </dgm:spPr>
      <dgm:t>
        <a:bodyPr/>
        <a:lstStyle/>
        <a:p>
          <a:endParaRPr lang="en-US" sz="2000">
            <a:solidFill>
              <a:schemeClr val="bg1"/>
            </a:solidFill>
            <a:latin typeface="+mn-lt"/>
          </a:endParaRPr>
        </a:p>
      </dgm:t>
    </dgm:pt>
    <dgm:pt modelId="{13ED613D-9B90-364B-8B61-08C2EBD5845D}" type="parTrans" cxnId="{545EF8B0-7D1D-6F44-AA9C-1844C5178167}">
      <dgm:prSet/>
      <dgm:spPr/>
      <dgm:t>
        <a:bodyPr/>
        <a:lstStyle/>
        <a:p>
          <a:endParaRPr lang="en-US"/>
        </a:p>
      </dgm:t>
    </dgm:pt>
    <dgm:pt modelId="{DFC843B1-1A39-494D-BF52-0A16E64C07E6}" type="sibTrans" cxnId="{545EF8B0-7D1D-6F44-AA9C-1844C5178167}">
      <dgm:prSet/>
      <dgm:spPr/>
      <dgm:t>
        <a:bodyPr/>
        <a:lstStyle/>
        <a:p>
          <a:endParaRPr lang="en-US"/>
        </a:p>
      </dgm:t>
    </dgm:pt>
    <dgm:pt modelId="{656C7711-97A5-4F42-95CD-D4FCF9907461}" type="pres">
      <dgm:prSet presAssocID="{EB0E4327-2366-4EC3-97E9-DA703A1C1FA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8AE1637-2A84-44A2-BBF6-BCC222F16971}" type="pres">
      <dgm:prSet presAssocID="{3D5A06C8-08B7-43AC-8ADC-5E93001A7614}" presName="linNode" presStyleCnt="0"/>
      <dgm:spPr/>
    </dgm:pt>
    <dgm:pt modelId="{D5969E9E-BDE7-4A28-A584-D90E8A4CA6B0}" type="pres">
      <dgm:prSet presAssocID="{3D5A06C8-08B7-43AC-8ADC-5E93001A7614}" presName="parentText" presStyleLbl="node1" presStyleIdx="0" presStyleCnt="1" custScaleY="6393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2755C6-1809-4663-A22F-C1DFB6134430}" type="pres">
      <dgm:prSet presAssocID="{3D5A06C8-08B7-43AC-8ADC-5E93001A7614}" presName="descendantText" presStyleLbl="align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B428374-AF88-4A12-8BCE-EC0C3C917AC7}" srcId="{EB0E4327-2366-4EC3-97E9-DA703A1C1FA0}" destId="{3D5A06C8-08B7-43AC-8ADC-5E93001A7614}" srcOrd="0" destOrd="0" parTransId="{639DC35B-C7B5-42D7-9909-F8117E91E553}" sibTransId="{89914519-9608-4E26-A8A4-F17638E040D0}"/>
    <dgm:cxn modelId="{7DF58651-3E8C-40D8-B14A-1EC1D4CBB248}" srcId="{3D5A06C8-08B7-43AC-8ADC-5E93001A7614}" destId="{76DE23EA-B6A6-4D12-A3E5-2F48EB31950A}" srcOrd="0" destOrd="0" parTransId="{3732DC23-EEED-4477-B5F5-89121D8FA440}" sibTransId="{2C28D166-12CD-4F7E-A09C-C22098397F1A}"/>
    <dgm:cxn modelId="{ADAACEE1-F210-3640-959E-27CAAB7894BD}" type="presOf" srcId="{34B37FDC-2413-D24B-BF92-94C4387A00DC}" destId="{C92755C6-1809-4663-A22F-C1DFB6134430}" srcOrd="0" destOrd="3" presId="urn:microsoft.com/office/officeart/2005/8/layout/vList5"/>
    <dgm:cxn modelId="{59CBE45C-7B73-F44D-BF28-F269902F3766}" type="presOf" srcId="{3D5A06C8-08B7-43AC-8ADC-5E93001A7614}" destId="{D5969E9E-BDE7-4A28-A584-D90E8A4CA6B0}" srcOrd="0" destOrd="0" presId="urn:microsoft.com/office/officeart/2005/8/layout/vList5"/>
    <dgm:cxn modelId="{36ED49F1-207C-D14B-9D4A-1AC2851E77F9}" type="presOf" srcId="{EB0E4327-2366-4EC3-97E9-DA703A1C1FA0}" destId="{656C7711-97A5-4F42-95CD-D4FCF9907461}" srcOrd="0" destOrd="0" presId="urn:microsoft.com/office/officeart/2005/8/layout/vList5"/>
    <dgm:cxn modelId="{545EF8B0-7D1D-6F44-AA9C-1844C5178167}" srcId="{3D5A06C8-08B7-43AC-8ADC-5E93001A7614}" destId="{34B37FDC-2413-D24B-BF92-94C4387A00DC}" srcOrd="3" destOrd="0" parTransId="{13ED613D-9B90-364B-8B61-08C2EBD5845D}" sibTransId="{DFC843B1-1A39-494D-BF52-0A16E64C07E6}"/>
    <dgm:cxn modelId="{EE5DCAC8-A962-4129-8AF9-01C803D8AE7D}" srcId="{3D5A06C8-08B7-43AC-8ADC-5E93001A7614}" destId="{95A3704E-3474-40D4-A769-3C07E130DE07}" srcOrd="2" destOrd="0" parTransId="{C0FF040F-4F46-4A44-BB0D-948340576362}" sibTransId="{AA64E530-4138-4E1C-9F68-DEAA429A2505}"/>
    <dgm:cxn modelId="{1B6A074C-E59D-498E-8F16-084137F0C397}" srcId="{3D5A06C8-08B7-43AC-8ADC-5E93001A7614}" destId="{CB3D8099-51F6-4919-A27B-FBFC391AF476}" srcOrd="1" destOrd="0" parTransId="{6168264F-3487-4568-AF68-79E4962522AC}" sibTransId="{83457E85-EFDA-4FBB-9FF3-3B7024D42259}"/>
    <dgm:cxn modelId="{A72C718B-CA8B-0140-AC59-E6C00F9FED97}" srcId="{3D5A06C8-08B7-43AC-8ADC-5E93001A7614}" destId="{54E23423-8441-A84B-B9DF-C385602507E5}" srcOrd="4" destOrd="0" parTransId="{8386AA96-98DF-9042-8C7E-4BE363D444AF}" sibTransId="{B5755F20-D0C6-804A-8F33-DD836D6C1161}"/>
    <dgm:cxn modelId="{B1BE7C1B-7A89-CD49-9904-B6736629E1F5}" type="presOf" srcId="{54E23423-8441-A84B-B9DF-C385602507E5}" destId="{C92755C6-1809-4663-A22F-C1DFB6134430}" srcOrd="0" destOrd="4" presId="urn:microsoft.com/office/officeart/2005/8/layout/vList5"/>
    <dgm:cxn modelId="{93DC2A15-C99A-A146-9C97-F50115D25648}" type="presOf" srcId="{95A3704E-3474-40D4-A769-3C07E130DE07}" destId="{C92755C6-1809-4663-A22F-C1DFB6134430}" srcOrd="0" destOrd="2" presId="urn:microsoft.com/office/officeart/2005/8/layout/vList5"/>
    <dgm:cxn modelId="{902317B5-142D-894F-BE4B-5C4003E9CA72}" type="presOf" srcId="{76DE23EA-B6A6-4D12-A3E5-2F48EB31950A}" destId="{C92755C6-1809-4663-A22F-C1DFB6134430}" srcOrd="0" destOrd="0" presId="urn:microsoft.com/office/officeart/2005/8/layout/vList5"/>
    <dgm:cxn modelId="{95365D2B-0C94-C04F-B9B4-75DB238531E2}" type="presOf" srcId="{CB3D8099-51F6-4919-A27B-FBFC391AF476}" destId="{C92755C6-1809-4663-A22F-C1DFB6134430}" srcOrd="0" destOrd="1" presId="urn:microsoft.com/office/officeart/2005/8/layout/vList5"/>
    <dgm:cxn modelId="{8D1C7219-61C1-7B49-8C1B-85BF410798CF}" type="presParOf" srcId="{656C7711-97A5-4F42-95CD-D4FCF9907461}" destId="{58AE1637-2A84-44A2-BBF6-BCC222F16971}" srcOrd="0" destOrd="0" presId="urn:microsoft.com/office/officeart/2005/8/layout/vList5"/>
    <dgm:cxn modelId="{40FEBDEE-D27F-814C-8098-DF6E2A95B4AC}" type="presParOf" srcId="{58AE1637-2A84-44A2-BBF6-BCC222F16971}" destId="{D5969E9E-BDE7-4A28-A584-D90E8A4CA6B0}" srcOrd="0" destOrd="0" presId="urn:microsoft.com/office/officeart/2005/8/layout/vList5"/>
    <dgm:cxn modelId="{858F7B1B-12D8-8B4A-B281-05A2DCF97218}" type="presParOf" srcId="{58AE1637-2A84-44A2-BBF6-BCC222F16971}" destId="{C92755C6-1809-4663-A22F-C1DFB6134430}" srcOrd="1" destOrd="0" presId="urn:microsoft.com/office/officeart/2005/8/layout/vList5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B0E4327-2366-4EC3-97E9-DA703A1C1FA0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D5A06C8-08B7-43AC-8ADC-5E93001A7614}">
      <dgm:prSet phldrT="[Text]" custT="1"/>
      <dgm:spPr>
        <a:solidFill>
          <a:schemeClr val="accent2"/>
        </a:solidFill>
        <a:ln>
          <a:solidFill>
            <a:schemeClr val="bg1"/>
          </a:solidFill>
        </a:ln>
      </dgm:spPr>
      <dgm:t>
        <a:bodyPr/>
        <a:lstStyle/>
        <a:p>
          <a:r>
            <a:rPr lang="en-US" sz="3200" smtClean="0">
              <a:latin typeface="+mn-lt"/>
            </a:rPr>
            <a:t>Draft</a:t>
          </a:r>
          <a:endParaRPr lang="en-US" sz="3200">
            <a:latin typeface="+mn-lt"/>
          </a:endParaRPr>
        </a:p>
      </dgm:t>
    </dgm:pt>
    <dgm:pt modelId="{639DC35B-C7B5-42D7-9909-F8117E91E553}" type="parTrans" cxnId="{5B428374-AF88-4A12-8BCE-EC0C3C917AC7}">
      <dgm:prSet/>
      <dgm:spPr/>
      <dgm:t>
        <a:bodyPr/>
        <a:lstStyle/>
        <a:p>
          <a:endParaRPr lang="en-US"/>
        </a:p>
      </dgm:t>
    </dgm:pt>
    <dgm:pt modelId="{89914519-9608-4E26-A8A4-F17638E040D0}" type="sibTrans" cxnId="{5B428374-AF88-4A12-8BCE-EC0C3C917AC7}">
      <dgm:prSet/>
      <dgm:spPr/>
      <dgm:t>
        <a:bodyPr/>
        <a:lstStyle/>
        <a:p>
          <a:endParaRPr lang="en-US"/>
        </a:p>
      </dgm:t>
    </dgm:pt>
    <dgm:pt modelId="{76DE23EA-B6A6-4D12-A3E5-2F48EB31950A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000" smtClean="0">
              <a:solidFill>
                <a:schemeClr val="bg1"/>
              </a:solidFill>
              <a:latin typeface="+mn-lt"/>
            </a:rPr>
            <a:t>When you create content, you begin in the Draft state </a:t>
          </a:r>
          <a:endParaRPr lang="en-US" sz="2000">
            <a:solidFill>
              <a:schemeClr val="bg1"/>
            </a:solidFill>
            <a:latin typeface="+mn-lt"/>
          </a:endParaRPr>
        </a:p>
      </dgm:t>
    </dgm:pt>
    <dgm:pt modelId="{3732DC23-EEED-4477-B5F5-89121D8FA440}" type="parTrans" cxnId="{7DF58651-3E8C-40D8-B14A-1EC1D4CBB248}">
      <dgm:prSet/>
      <dgm:spPr/>
      <dgm:t>
        <a:bodyPr/>
        <a:lstStyle/>
        <a:p>
          <a:endParaRPr lang="en-US"/>
        </a:p>
      </dgm:t>
    </dgm:pt>
    <dgm:pt modelId="{2C28D166-12CD-4F7E-A09C-C22098397F1A}" type="sibTrans" cxnId="{7DF58651-3E8C-40D8-B14A-1EC1D4CBB248}">
      <dgm:prSet/>
      <dgm:spPr/>
      <dgm:t>
        <a:bodyPr/>
        <a:lstStyle/>
        <a:p>
          <a:endParaRPr lang="en-US"/>
        </a:p>
      </dgm:t>
    </dgm:pt>
    <dgm:pt modelId="{02A4D10A-BAC3-4850-9590-D5D2A8F118D8}">
      <dgm:prSet phldrT="[Text]" custT="1"/>
      <dgm:spPr>
        <a:solidFill>
          <a:schemeClr val="accent2"/>
        </a:solidFill>
        <a:ln>
          <a:solidFill>
            <a:schemeClr val="bg1"/>
          </a:solidFill>
        </a:ln>
      </dgm:spPr>
      <dgm:t>
        <a:bodyPr/>
        <a:lstStyle/>
        <a:p>
          <a:r>
            <a:rPr lang="en-US" sz="3200" smtClean="0">
              <a:latin typeface="+mn-lt"/>
            </a:rPr>
            <a:t>Workflow</a:t>
          </a:r>
          <a:endParaRPr lang="en-US" sz="3200">
            <a:latin typeface="+mn-lt"/>
          </a:endParaRPr>
        </a:p>
      </dgm:t>
    </dgm:pt>
    <dgm:pt modelId="{23A52DD1-478A-41A7-8622-E4F6F4F3DD68}" type="parTrans" cxnId="{853C9406-AB9D-454A-AE00-E7A5CB16C456}">
      <dgm:prSet/>
      <dgm:spPr/>
      <dgm:t>
        <a:bodyPr/>
        <a:lstStyle/>
        <a:p>
          <a:endParaRPr lang="en-US"/>
        </a:p>
      </dgm:t>
    </dgm:pt>
    <dgm:pt modelId="{99B712CD-4F67-4FD0-84C5-D88ADB25CED2}" type="sibTrans" cxnId="{853C9406-AB9D-454A-AE00-E7A5CB16C456}">
      <dgm:prSet/>
      <dgm:spPr/>
      <dgm:t>
        <a:bodyPr/>
        <a:lstStyle/>
        <a:p>
          <a:endParaRPr lang="en-US"/>
        </a:p>
      </dgm:t>
    </dgm:pt>
    <dgm:pt modelId="{D90FA121-E908-4D4E-BFB8-E6641E743AA6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000" smtClean="0">
              <a:solidFill>
                <a:schemeClr val="bg1"/>
              </a:solidFill>
              <a:latin typeface="+mn-lt"/>
            </a:rPr>
            <a:t>Defines the state and commands available to users to move content to a published environment</a:t>
          </a:r>
          <a:endParaRPr lang="en-US" sz="2000">
            <a:solidFill>
              <a:schemeClr val="bg1"/>
            </a:solidFill>
            <a:latin typeface="+mn-lt"/>
          </a:endParaRPr>
        </a:p>
      </dgm:t>
    </dgm:pt>
    <dgm:pt modelId="{E970B7EC-330D-4F0D-B4E6-242987184F59}" type="parTrans" cxnId="{2A5D72D8-91A5-4439-AA73-6E089AC80152}">
      <dgm:prSet/>
      <dgm:spPr/>
      <dgm:t>
        <a:bodyPr/>
        <a:lstStyle/>
        <a:p>
          <a:endParaRPr lang="en-US"/>
        </a:p>
      </dgm:t>
    </dgm:pt>
    <dgm:pt modelId="{28613F56-5D5F-4499-8F02-BC5D17C9FEAD}" type="sibTrans" cxnId="{2A5D72D8-91A5-4439-AA73-6E089AC80152}">
      <dgm:prSet/>
      <dgm:spPr/>
      <dgm:t>
        <a:bodyPr/>
        <a:lstStyle/>
        <a:p>
          <a:endParaRPr lang="en-US"/>
        </a:p>
      </dgm:t>
    </dgm:pt>
    <dgm:pt modelId="{964BEE8D-5E14-4AD4-A062-9A99DA31563D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000" smtClean="0">
              <a:solidFill>
                <a:schemeClr val="bg1"/>
              </a:solidFill>
              <a:latin typeface="+mn-lt"/>
            </a:rPr>
            <a:t>Not been published to any environment</a:t>
          </a:r>
          <a:endParaRPr lang="en-US" sz="2000">
            <a:solidFill>
              <a:schemeClr val="bg1"/>
            </a:solidFill>
            <a:latin typeface="+mn-lt"/>
          </a:endParaRPr>
        </a:p>
      </dgm:t>
    </dgm:pt>
    <dgm:pt modelId="{0E69E9A9-1E20-403C-BE48-D8086CD685DB}" type="parTrans" cxnId="{83B0B4AF-7928-453C-81B7-79A81AC423DF}">
      <dgm:prSet/>
      <dgm:spPr/>
      <dgm:t>
        <a:bodyPr/>
        <a:lstStyle/>
        <a:p>
          <a:endParaRPr lang="en-US"/>
        </a:p>
      </dgm:t>
    </dgm:pt>
    <dgm:pt modelId="{7B2355B3-E612-41BA-AD7E-7E669B8FD07D}" type="sibTrans" cxnId="{83B0B4AF-7928-453C-81B7-79A81AC423DF}">
      <dgm:prSet/>
      <dgm:spPr/>
      <dgm:t>
        <a:bodyPr/>
        <a:lstStyle/>
        <a:p>
          <a:endParaRPr lang="en-US"/>
        </a:p>
      </dgm:t>
    </dgm:pt>
    <dgm:pt modelId="{99BA31AC-AB73-0142-9F12-DA049F19E40A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000" smtClean="0">
              <a:solidFill>
                <a:schemeClr val="bg1"/>
              </a:solidFill>
              <a:latin typeface="+mn-lt"/>
            </a:rPr>
            <a:t>Fully customizable to business requirements</a:t>
          </a:r>
          <a:endParaRPr lang="en-US" sz="2000">
            <a:solidFill>
              <a:schemeClr val="bg1"/>
            </a:solidFill>
            <a:latin typeface="+mn-lt"/>
          </a:endParaRPr>
        </a:p>
      </dgm:t>
    </dgm:pt>
    <dgm:pt modelId="{7166C7D4-B9D1-074B-B1C8-6B72BA26BB06}" type="parTrans" cxnId="{0EE50B1A-A9AB-2945-AAF3-FA66E312740E}">
      <dgm:prSet/>
      <dgm:spPr/>
      <dgm:t>
        <a:bodyPr/>
        <a:lstStyle/>
        <a:p>
          <a:endParaRPr lang="en-US"/>
        </a:p>
      </dgm:t>
    </dgm:pt>
    <dgm:pt modelId="{7821DA85-54B9-A04D-A00C-696863849931}" type="sibTrans" cxnId="{0EE50B1A-A9AB-2945-AAF3-FA66E312740E}">
      <dgm:prSet/>
      <dgm:spPr/>
      <dgm:t>
        <a:bodyPr/>
        <a:lstStyle/>
        <a:p>
          <a:endParaRPr lang="en-US"/>
        </a:p>
      </dgm:t>
    </dgm:pt>
    <dgm:pt modelId="{8E7262D8-1E5A-1A47-A841-ED506BA4CBDF}">
      <dgm:prSet phldrT="[Text]" custT="1"/>
      <dgm:spPr>
        <a:noFill/>
        <a:ln>
          <a:noFill/>
        </a:ln>
      </dgm:spPr>
      <dgm:t>
        <a:bodyPr/>
        <a:lstStyle/>
        <a:p>
          <a:endParaRPr lang="en-US" sz="2000">
            <a:solidFill>
              <a:schemeClr val="bg1"/>
            </a:solidFill>
            <a:latin typeface="+mn-lt"/>
          </a:endParaRPr>
        </a:p>
      </dgm:t>
    </dgm:pt>
    <dgm:pt modelId="{9FBFD88D-C1B7-834F-A5F1-EEC7FD6ABC55}" type="parTrans" cxnId="{D411B825-0D32-9D48-8C23-E4BF5F929DDC}">
      <dgm:prSet/>
      <dgm:spPr/>
      <dgm:t>
        <a:bodyPr/>
        <a:lstStyle/>
        <a:p>
          <a:endParaRPr lang="en-US"/>
        </a:p>
      </dgm:t>
    </dgm:pt>
    <dgm:pt modelId="{011E4739-1512-8B47-AECC-07FA30DB68C4}" type="sibTrans" cxnId="{D411B825-0D32-9D48-8C23-E4BF5F929DDC}">
      <dgm:prSet/>
      <dgm:spPr/>
      <dgm:t>
        <a:bodyPr/>
        <a:lstStyle/>
        <a:p>
          <a:endParaRPr lang="en-US"/>
        </a:p>
      </dgm:t>
    </dgm:pt>
    <dgm:pt modelId="{656C7711-97A5-4F42-95CD-D4FCF9907461}" type="pres">
      <dgm:prSet presAssocID="{EB0E4327-2366-4EC3-97E9-DA703A1C1FA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8AE1637-2A84-44A2-BBF6-BCC222F16971}" type="pres">
      <dgm:prSet presAssocID="{3D5A06C8-08B7-43AC-8ADC-5E93001A7614}" presName="linNode" presStyleCnt="0"/>
      <dgm:spPr/>
    </dgm:pt>
    <dgm:pt modelId="{D5969E9E-BDE7-4A28-A584-D90E8A4CA6B0}" type="pres">
      <dgm:prSet presAssocID="{3D5A06C8-08B7-43AC-8ADC-5E93001A7614}" presName="parentText" presStyleLbl="node1" presStyleIdx="0" presStyleCnt="2" custScaleY="53231" custLinFactNeighborY="93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2755C6-1809-4663-A22F-C1DFB6134430}" type="pres">
      <dgm:prSet presAssocID="{3D5A06C8-08B7-43AC-8ADC-5E93001A7614}" presName="descendantText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64CA3C-5AC3-45A4-A41E-88754237742A}" type="pres">
      <dgm:prSet presAssocID="{89914519-9608-4E26-A8A4-F17638E040D0}" presName="sp" presStyleCnt="0"/>
      <dgm:spPr/>
    </dgm:pt>
    <dgm:pt modelId="{081318AF-A2B4-4D38-9038-5E7151227B8B}" type="pres">
      <dgm:prSet presAssocID="{02A4D10A-BAC3-4850-9590-D5D2A8F118D8}" presName="linNode" presStyleCnt="0"/>
      <dgm:spPr/>
    </dgm:pt>
    <dgm:pt modelId="{BCD314F2-D66E-4D6C-8D5C-238197859DE1}" type="pres">
      <dgm:prSet presAssocID="{02A4D10A-BAC3-4850-9590-D5D2A8F118D8}" presName="parentText" presStyleLbl="node1" presStyleIdx="1" presStyleCnt="2" custScaleY="6265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C30CE4-A575-41E2-BAB9-D3EE8DC3AB96}" type="pres">
      <dgm:prSet presAssocID="{02A4D10A-BAC3-4850-9590-D5D2A8F118D8}" presName="descendantText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B3B847F-BDF4-884B-83FF-422B532D4147}" type="presOf" srcId="{76DE23EA-B6A6-4D12-A3E5-2F48EB31950A}" destId="{C92755C6-1809-4663-A22F-C1DFB6134430}" srcOrd="0" destOrd="0" presId="urn:microsoft.com/office/officeart/2005/8/layout/vList5"/>
    <dgm:cxn modelId="{9194A544-1394-3247-86BD-4407B67602B7}" type="presOf" srcId="{EB0E4327-2366-4EC3-97E9-DA703A1C1FA0}" destId="{656C7711-97A5-4F42-95CD-D4FCF9907461}" srcOrd="0" destOrd="0" presId="urn:microsoft.com/office/officeart/2005/8/layout/vList5"/>
    <dgm:cxn modelId="{0EE50B1A-A9AB-2945-AAF3-FA66E312740E}" srcId="{02A4D10A-BAC3-4850-9590-D5D2A8F118D8}" destId="{99BA31AC-AB73-0142-9F12-DA049F19E40A}" srcOrd="2" destOrd="0" parTransId="{7166C7D4-B9D1-074B-B1C8-6B72BA26BB06}" sibTransId="{7821DA85-54B9-A04D-A00C-696863849931}"/>
    <dgm:cxn modelId="{854DB764-368C-9E4B-B1D7-237BF85CB10A}" type="presOf" srcId="{3D5A06C8-08B7-43AC-8ADC-5E93001A7614}" destId="{D5969E9E-BDE7-4A28-A584-D90E8A4CA6B0}" srcOrd="0" destOrd="0" presId="urn:microsoft.com/office/officeart/2005/8/layout/vList5"/>
    <dgm:cxn modelId="{CBCDF4EC-01EE-884D-BFE7-5F885CD42CA9}" type="presOf" srcId="{D90FA121-E908-4D4E-BFB8-E6641E743AA6}" destId="{8AC30CE4-A575-41E2-BAB9-D3EE8DC3AB96}" srcOrd="0" destOrd="0" presId="urn:microsoft.com/office/officeart/2005/8/layout/vList5"/>
    <dgm:cxn modelId="{5B428374-AF88-4A12-8BCE-EC0C3C917AC7}" srcId="{EB0E4327-2366-4EC3-97E9-DA703A1C1FA0}" destId="{3D5A06C8-08B7-43AC-8ADC-5E93001A7614}" srcOrd="0" destOrd="0" parTransId="{639DC35B-C7B5-42D7-9909-F8117E91E553}" sibTransId="{89914519-9608-4E26-A8A4-F17638E040D0}"/>
    <dgm:cxn modelId="{44B05AFC-956E-B741-919D-59363797D8A4}" type="presOf" srcId="{8E7262D8-1E5A-1A47-A841-ED506BA4CBDF}" destId="{8AC30CE4-A575-41E2-BAB9-D3EE8DC3AB96}" srcOrd="0" destOrd="1" presId="urn:microsoft.com/office/officeart/2005/8/layout/vList5"/>
    <dgm:cxn modelId="{2A5D72D8-91A5-4439-AA73-6E089AC80152}" srcId="{02A4D10A-BAC3-4850-9590-D5D2A8F118D8}" destId="{D90FA121-E908-4D4E-BFB8-E6641E743AA6}" srcOrd="0" destOrd="0" parTransId="{E970B7EC-330D-4F0D-B4E6-242987184F59}" sibTransId="{28613F56-5D5F-4499-8F02-BC5D17C9FEAD}"/>
    <dgm:cxn modelId="{7AD668D0-F390-4E46-8FBF-CBE4BB9C6BDE}" type="presOf" srcId="{99BA31AC-AB73-0142-9F12-DA049F19E40A}" destId="{8AC30CE4-A575-41E2-BAB9-D3EE8DC3AB96}" srcOrd="0" destOrd="2" presId="urn:microsoft.com/office/officeart/2005/8/layout/vList5"/>
    <dgm:cxn modelId="{853C9406-AB9D-454A-AE00-E7A5CB16C456}" srcId="{EB0E4327-2366-4EC3-97E9-DA703A1C1FA0}" destId="{02A4D10A-BAC3-4850-9590-D5D2A8F118D8}" srcOrd="1" destOrd="0" parTransId="{23A52DD1-478A-41A7-8622-E4F6F4F3DD68}" sibTransId="{99B712CD-4F67-4FD0-84C5-D88ADB25CED2}"/>
    <dgm:cxn modelId="{5700C51C-4F7A-DA4C-8208-9E1B0F9BD8C1}" type="presOf" srcId="{02A4D10A-BAC3-4850-9590-D5D2A8F118D8}" destId="{BCD314F2-D66E-4D6C-8D5C-238197859DE1}" srcOrd="0" destOrd="0" presId="urn:microsoft.com/office/officeart/2005/8/layout/vList5"/>
    <dgm:cxn modelId="{D411B825-0D32-9D48-8C23-E4BF5F929DDC}" srcId="{02A4D10A-BAC3-4850-9590-D5D2A8F118D8}" destId="{8E7262D8-1E5A-1A47-A841-ED506BA4CBDF}" srcOrd="1" destOrd="0" parTransId="{9FBFD88D-C1B7-834F-A5F1-EEC7FD6ABC55}" sibTransId="{011E4739-1512-8B47-AECC-07FA30DB68C4}"/>
    <dgm:cxn modelId="{83B0B4AF-7928-453C-81B7-79A81AC423DF}" srcId="{3D5A06C8-08B7-43AC-8ADC-5E93001A7614}" destId="{964BEE8D-5E14-4AD4-A062-9A99DA31563D}" srcOrd="1" destOrd="0" parTransId="{0E69E9A9-1E20-403C-BE48-D8086CD685DB}" sibTransId="{7B2355B3-E612-41BA-AD7E-7E669B8FD07D}"/>
    <dgm:cxn modelId="{7DF58651-3E8C-40D8-B14A-1EC1D4CBB248}" srcId="{3D5A06C8-08B7-43AC-8ADC-5E93001A7614}" destId="{76DE23EA-B6A6-4D12-A3E5-2F48EB31950A}" srcOrd="0" destOrd="0" parTransId="{3732DC23-EEED-4477-B5F5-89121D8FA440}" sibTransId="{2C28D166-12CD-4F7E-A09C-C22098397F1A}"/>
    <dgm:cxn modelId="{92DEAB2C-EB00-EA4E-BD89-58D912F99D6C}" type="presOf" srcId="{964BEE8D-5E14-4AD4-A062-9A99DA31563D}" destId="{C92755C6-1809-4663-A22F-C1DFB6134430}" srcOrd="0" destOrd="1" presId="urn:microsoft.com/office/officeart/2005/8/layout/vList5"/>
    <dgm:cxn modelId="{6FDAEB2E-4687-244B-B0A8-16AB007F5065}" type="presParOf" srcId="{656C7711-97A5-4F42-95CD-D4FCF9907461}" destId="{58AE1637-2A84-44A2-BBF6-BCC222F16971}" srcOrd="0" destOrd="0" presId="urn:microsoft.com/office/officeart/2005/8/layout/vList5"/>
    <dgm:cxn modelId="{5EB20F24-0BFA-AF4E-AC99-E4C58BAB8F8D}" type="presParOf" srcId="{58AE1637-2A84-44A2-BBF6-BCC222F16971}" destId="{D5969E9E-BDE7-4A28-A584-D90E8A4CA6B0}" srcOrd="0" destOrd="0" presId="urn:microsoft.com/office/officeart/2005/8/layout/vList5"/>
    <dgm:cxn modelId="{92B27010-03D3-A941-8629-ADBAE1434A9E}" type="presParOf" srcId="{58AE1637-2A84-44A2-BBF6-BCC222F16971}" destId="{C92755C6-1809-4663-A22F-C1DFB6134430}" srcOrd="1" destOrd="0" presId="urn:microsoft.com/office/officeart/2005/8/layout/vList5"/>
    <dgm:cxn modelId="{A485355E-D5EB-4D4A-8524-001ADCA52C5E}" type="presParOf" srcId="{656C7711-97A5-4F42-95CD-D4FCF9907461}" destId="{0C64CA3C-5AC3-45A4-A41E-88754237742A}" srcOrd="1" destOrd="0" presId="urn:microsoft.com/office/officeart/2005/8/layout/vList5"/>
    <dgm:cxn modelId="{111CCDF5-E6A5-E449-9E02-9689E595696B}" type="presParOf" srcId="{656C7711-97A5-4F42-95CD-D4FCF9907461}" destId="{081318AF-A2B4-4D38-9038-5E7151227B8B}" srcOrd="2" destOrd="0" presId="urn:microsoft.com/office/officeart/2005/8/layout/vList5"/>
    <dgm:cxn modelId="{66F66BD0-41C3-D84E-BADF-E26BA4998969}" type="presParOf" srcId="{081318AF-A2B4-4D38-9038-5E7151227B8B}" destId="{BCD314F2-D66E-4D6C-8D5C-238197859DE1}" srcOrd="0" destOrd="0" presId="urn:microsoft.com/office/officeart/2005/8/layout/vList5"/>
    <dgm:cxn modelId="{30B030FE-3FE3-FA4A-9781-237571973E6F}" type="presParOf" srcId="{081318AF-A2B4-4D38-9038-5E7151227B8B}" destId="{8AC30CE4-A575-41E2-BAB9-D3EE8DC3AB96}" srcOrd="1" destOrd="0" presId="urn:microsoft.com/office/officeart/2005/8/layout/vList5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B0E4327-2366-4EC3-97E9-DA703A1C1FA0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D5A06C8-08B7-43AC-8ADC-5E93001A7614}">
      <dgm:prSet phldrT="[Text]" custT="1"/>
      <dgm:spPr>
        <a:solidFill>
          <a:schemeClr val="accent2"/>
        </a:solidFill>
        <a:ln>
          <a:solidFill>
            <a:schemeClr val="bg1"/>
          </a:solidFill>
        </a:ln>
      </dgm:spPr>
      <dgm:t>
        <a:bodyPr/>
        <a:lstStyle/>
        <a:p>
          <a:r>
            <a:rPr lang="en-US" sz="3200" smtClean="0">
              <a:latin typeface="+mn-lt"/>
            </a:rPr>
            <a:t>Dependency</a:t>
          </a:r>
          <a:endParaRPr lang="en-US" sz="3200">
            <a:latin typeface="+mn-lt"/>
          </a:endParaRPr>
        </a:p>
      </dgm:t>
    </dgm:pt>
    <dgm:pt modelId="{639DC35B-C7B5-42D7-9909-F8117E91E553}" type="parTrans" cxnId="{5B428374-AF88-4A12-8BCE-EC0C3C917AC7}">
      <dgm:prSet/>
      <dgm:spPr/>
      <dgm:t>
        <a:bodyPr/>
        <a:lstStyle/>
        <a:p>
          <a:endParaRPr lang="en-US"/>
        </a:p>
      </dgm:t>
    </dgm:pt>
    <dgm:pt modelId="{89914519-9608-4E26-A8A4-F17638E040D0}" type="sibTrans" cxnId="{5B428374-AF88-4A12-8BCE-EC0C3C917AC7}">
      <dgm:prSet/>
      <dgm:spPr/>
      <dgm:t>
        <a:bodyPr/>
        <a:lstStyle/>
        <a:p>
          <a:endParaRPr lang="en-US"/>
        </a:p>
      </dgm:t>
    </dgm:pt>
    <dgm:pt modelId="{76DE23EA-B6A6-4D12-A3E5-2F48EB31950A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000" smtClean="0">
              <a:solidFill>
                <a:schemeClr val="bg1"/>
              </a:solidFill>
              <a:latin typeface="+mn-lt"/>
            </a:rPr>
            <a:t>Interconnectors between published assets in your instance</a:t>
          </a:r>
          <a:endParaRPr lang="en-US" sz="2000">
            <a:solidFill>
              <a:schemeClr val="bg1"/>
            </a:solidFill>
            <a:latin typeface="+mn-lt"/>
          </a:endParaRPr>
        </a:p>
      </dgm:t>
    </dgm:pt>
    <dgm:pt modelId="{3732DC23-EEED-4477-B5F5-89121D8FA440}" type="parTrans" cxnId="{7DF58651-3E8C-40D8-B14A-1EC1D4CBB248}">
      <dgm:prSet/>
      <dgm:spPr/>
      <dgm:t>
        <a:bodyPr/>
        <a:lstStyle/>
        <a:p>
          <a:endParaRPr lang="en-US"/>
        </a:p>
      </dgm:t>
    </dgm:pt>
    <dgm:pt modelId="{2C28D166-12CD-4F7E-A09C-C22098397F1A}" type="sibTrans" cxnId="{7DF58651-3E8C-40D8-B14A-1EC1D4CBB248}">
      <dgm:prSet/>
      <dgm:spPr/>
      <dgm:t>
        <a:bodyPr/>
        <a:lstStyle/>
        <a:p>
          <a:endParaRPr lang="en-US"/>
        </a:p>
      </dgm:t>
    </dgm:pt>
    <dgm:pt modelId="{02A4D10A-BAC3-4850-9590-D5D2A8F118D8}">
      <dgm:prSet phldrT="[Text]" custT="1"/>
      <dgm:spPr>
        <a:solidFill>
          <a:schemeClr val="accent2"/>
        </a:solidFill>
        <a:ln>
          <a:solidFill>
            <a:schemeClr val="bg1"/>
          </a:solidFill>
        </a:ln>
      </dgm:spPr>
      <dgm:t>
        <a:bodyPr/>
        <a:lstStyle/>
        <a:p>
          <a:r>
            <a:rPr lang="en-US" sz="3200" smtClean="0">
              <a:latin typeface="+mn-lt"/>
            </a:rPr>
            <a:t>Branching</a:t>
          </a:r>
          <a:endParaRPr lang="en-US" sz="3200">
            <a:latin typeface="+mn-lt"/>
          </a:endParaRPr>
        </a:p>
      </dgm:t>
    </dgm:pt>
    <dgm:pt modelId="{23A52DD1-478A-41A7-8622-E4F6F4F3DD68}" type="parTrans" cxnId="{853C9406-AB9D-454A-AE00-E7A5CB16C456}">
      <dgm:prSet/>
      <dgm:spPr/>
      <dgm:t>
        <a:bodyPr/>
        <a:lstStyle/>
        <a:p>
          <a:endParaRPr lang="en-US"/>
        </a:p>
      </dgm:t>
    </dgm:pt>
    <dgm:pt modelId="{99B712CD-4F67-4FD0-84C5-D88ADB25CED2}" type="sibTrans" cxnId="{853C9406-AB9D-454A-AE00-E7A5CB16C456}">
      <dgm:prSet/>
      <dgm:spPr/>
      <dgm:t>
        <a:bodyPr/>
        <a:lstStyle/>
        <a:p>
          <a:endParaRPr lang="en-US"/>
        </a:p>
      </dgm:t>
    </dgm:pt>
    <dgm:pt modelId="{D90FA121-E908-4D4E-BFB8-E6641E743AA6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000" smtClean="0">
              <a:solidFill>
                <a:schemeClr val="bg1"/>
              </a:solidFill>
              <a:latin typeface="+mn-lt"/>
            </a:rPr>
            <a:t>Create another instance of a piece of content or asset and have it in multiple states</a:t>
          </a:r>
          <a:endParaRPr lang="en-US" sz="2000">
            <a:solidFill>
              <a:schemeClr val="bg1"/>
            </a:solidFill>
            <a:latin typeface="+mn-lt"/>
          </a:endParaRPr>
        </a:p>
      </dgm:t>
    </dgm:pt>
    <dgm:pt modelId="{E970B7EC-330D-4F0D-B4E6-242987184F59}" type="parTrans" cxnId="{2A5D72D8-91A5-4439-AA73-6E089AC80152}">
      <dgm:prSet/>
      <dgm:spPr/>
      <dgm:t>
        <a:bodyPr/>
        <a:lstStyle/>
        <a:p>
          <a:endParaRPr lang="en-US"/>
        </a:p>
      </dgm:t>
    </dgm:pt>
    <dgm:pt modelId="{28613F56-5D5F-4499-8F02-BC5D17C9FEAD}" type="sibTrans" cxnId="{2A5D72D8-91A5-4439-AA73-6E089AC80152}">
      <dgm:prSet/>
      <dgm:spPr/>
      <dgm:t>
        <a:bodyPr/>
        <a:lstStyle/>
        <a:p>
          <a:endParaRPr lang="en-US"/>
        </a:p>
      </dgm:t>
    </dgm:pt>
    <dgm:pt modelId="{3DEC7C6F-02C4-8740-99E1-0DEEB6E85F5A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000" smtClean="0">
              <a:solidFill>
                <a:schemeClr val="bg1"/>
              </a:solidFill>
              <a:latin typeface="+mn-lt"/>
            </a:rPr>
            <a:t>Automatic &amp; manual dependencies exist</a:t>
          </a:r>
          <a:endParaRPr lang="en-US" sz="2000">
            <a:solidFill>
              <a:schemeClr val="bg1"/>
            </a:solidFill>
            <a:latin typeface="+mn-lt"/>
          </a:endParaRPr>
        </a:p>
      </dgm:t>
    </dgm:pt>
    <dgm:pt modelId="{F52A6C61-418C-104A-A5C4-F082CB7D3B1A}" type="parTrans" cxnId="{E1B8BAD1-FF64-B941-A83E-C305A47B38B7}">
      <dgm:prSet/>
      <dgm:spPr/>
      <dgm:t>
        <a:bodyPr/>
        <a:lstStyle/>
        <a:p>
          <a:endParaRPr lang="en-US"/>
        </a:p>
      </dgm:t>
    </dgm:pt>
    <dgm:pt modelId="{C67263AB-34CD-7B40-BE6A-200B3BBB25CE}" type="sibTrans" cxnId="{E1B8BAD1-FF64-B941-A83E-C305A47B38B7}">
      <dgm:prSet/>
      <dgm:spPr/>
      <dgm:t>
        <a:bodyPr/>
        <a:lstStyle/>
        <a:p>
          <a:endParaRPr lang="en-US"/>
        </a:p>
      </dgm:t>
    </dgm:pt>
    <dgm:pt modelId="{4D5D7184-60C3-D04E-AFA6-8DCF077EAD34}">
      <dgm:prSet phldrT="[Text]" custT="1"/>
      <dgm:spPr>
        <a:noFill/>
        <a:ln>
          <a:noFill/>
        </a:ln>
      </dgm:spPr>
      <dgm:t>
        <a:bodyPr/>
        <a:lstStyle/>
        <a:p>
          <a:endParaRPr lang="en-US" sz="2000">
            <a:solidFill>
              <a:schemeClr val="bg1"/>
            </a:solidFill>
            <a:latin typeface="+mn-lt"/>
          </a:endParaRPr>
        </a:p>
      </dgm:t>
    </dgm:pt>
    <dgm:pt modelId="{8F4B8F56-1279-9B49-BAE9-74A3D2C11BC6}" type="parTrans" cxnId="{FE2A23B3-F2C3-9E44-BFFF-83705445C318}">
      <dgm:prSet/>
      <dgm:spPr/>
      <dgm:t>
        <a:bodyPr/>
        <a:lstStyle/>
        <a:p>
          <a:endParaRPr lang="en-US"/>
        </a:p>
      </dgm:t>
    </dgm:pt>
    <dgm:pt modelId="{270C8C13-DA14-8846-8962-7C7CC71D3D94}" type="sibTrans" cxnId="{FE2A23B3-F2C3-9E44-BFFF-83705445C318}">
      <dgm:prSet/>
      <dgm:spPr/>
      <dgm:t>
        <a:bodyPr/>
        <a:lstStyle/>
        <a:p>
          <a:endParaRPr lang="en-US"/>
        </a:p>
      </dgm:t>
    </dgm:pt>
    <dgm:pt modelId="{47CAC820-6C65-214A-A1D8-FC35CA34478C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000" smtClean="0">
              <a:solidFill>
                <a:schemeClr val="bg1"/>
              </a:solidFill>
              <a:latin typeface="+mn-lt"/>
            </a:rPr>
            <a:t>Used when editing content to enable content authorization through workflow</a:t>
          </a:r>
          <a:endParaRPr lang="en-US" sz="2000">
            <a:solidFill>
              <a:schemeClr val="bg1"/>
            </a:solidFill>
            <a:latin typeface="+mn-lt"/>
          </a:endParaRPr>
        </a:p>
      </dgm:t>
    </dgm:pt>
    <dgm:pt modelId="{2A58FD2E-3B50-8B4E-8C7B-B4AEE02C10C0}" type="parTrans" cxnId="{36BC007B-D0DC-874C-852E-B1546D985ADB}">
      <dgm:prSet/>
      <dgm:spPr/>
      <dgm:t>
        <a:bodyPr/>
        <a:lstStyle/>
        <a:p>
          <a:endParaRPr lang="en-US"/>
        </a:p>
      </dgm:t>
    </dgm:pt>
    <dgm:pt modelId="{48BB0259-5F64-C540-8E38-FBAB7D2ACE9E}" type="sibTrans" cxnId="{36BC007B-D0DC-874C-852E-B1546D985ADB}">
      <dgm:prSet/>
      <dgm:spPr/>
      <dgm:t>
        <a:bodyPr/>
        <a:lstStyle/>
        <a:p>
          <a:endParaRPr lang="en-US"/>
        </a:p>
      </dgm:t>
    </dgm:pt>
    <dgm:pt modelId="{88A52B51-60D5-8348-8382-243B66CE3E3E}">
      <dgm:prSet phldrT="[Text]" custT="1"/>
      <dgm:spPr>
        <a:noFill/>
        <a:ln>
          <a:noFill/>
        </a:ln>
      </dgm:spPr>
      <dgm:t>
        <a:bodyPr/>
        <a:lstStyle/>
        <a:p>
          <a:endParaRPr lang="en-US" sz="2000">
            <a:solidFill>
              <a:schemeClr val="bg1"/>
            </a:solidFill>
            <a:latin typeface="+mn-lt"/>
          </a:endParaRPr>
        </a:p>
      </dgm:t>
    </dgm:pt>
    <dgm:pt modelId="{3DF3CD25-6DBE-EC45-B642-DF23FA81FC5F}" type="parTrans" cxnId="{C1C546AB-BA3C-CB47-9983-280C13034A37}">
      <dgm:prSet/>
      <dgm:spPr/>
      <dgm:t>
        <a:bodyPr/>
        <a:lstStyle/>
        <a:p>
          <a:endParaRPr lang="en-US"/>
        </a:p>
      </dgm:t>
    </dgm:pt>
    <dgm:pt modelId="{65CFE3CA-7521-6B43-A97D-5B8A23E303BB}" type="sibTrans" cxnId="{C1C546AB-BA3C-CB47-9983-280C13034A37}">
      <dgm:prSet/>
      <dgm:spPr/>
      <dgm:t>
        <a:bodyPr/>
        <a:lstStyle/>
        <a:p>
          <a:endParaRPr lang="en-US"/>
        </a:p>
      </dgm:t>
    </dgm:pt>
    <dgm:pt modelId="{E2F739B6-E7BB-9743-9713-6968030C0AC3}">
      <dgm:prSet phldrT="[Text]" custT="1"/>
      <dgm:spPr>
        <a:noFill/>
        <a:ln>
          <a:noFill/>
        </a:ln>
      </dgm:spPr>
      <dgm:t>
        <a:bodyPr/>
        <a:lstStyle/>
        <a:p>
          <a:endParaRPr lang="en-US" sz="2000">
            <a:solidFill>
              <a:schemeClr val="bg1"/>
            </a:solidFill>
            <a:latin typeface="+mn-lt"/>
          </a:endParaRPr>
        </a:p>
      </dgm:t>
    </dgm:pt>
    <dgm:pt modelId="{51E1AFBD-3E80-F249-BF01-6E520A0E55DF}" type="parTrans" cxnId="{655F0F79-1DB9-A744-B751-91304B2108A1}">
      <dgm:prSet/>
      <dgm:spPr/>
      <dgm:t>
        <a:bodyPr/>
        <a:lstStyle/>
        <a:p>
          <a:endParaRPr lang="en-US"/>
        </a:p>
      </dgm:t>
    </dgm:pt>
    <dgm:pt modelId="{7CFAD816-AD5D-6B4A-BDB1-B8FEB83FD21E}" type="sibTrans" cxnId="{655F0F79-1DB9-A744-B751-91304B2108A1}">
      <dgm:prSet/>
      <dgm:spPr/>
      <dgm:t>
        <a:bodyPr/>
        <a:lstStyle/>
        <a:p>
          <a:endParaRPr lang="en-US"/>
        </a:p>
      </dgm:t>
    </dgm:pt>
    <dgm:pt modelId="{656C7711-97A5-4F42-95CD-D4FCF9907461}" type="pres">
      <dgm:prSet presAssocID="{EB0E4327-2366-4EC3-97E9-DA703A1C1FA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8AE1637-2A84-44A2-BBF6-BCC222F16971}" type="pres">
      <dgm:prSet presAssocID="{3D5A06C8-08B7-43AC-8ADC-5E93001A7614}" presName="linNode" presStyleCnt="0"/>
      <dgm:spPr/>
    </dgm:pt>
    <dgm:pt modelId="{D5969E9E-BDE7-4A28-A584-D90E8A4CA6B0}" type="pres">
      <dgm:prSet presAssocID="{3D5A06C8-08B7-43AC-8ADC-5E93001A7614}" presName="parentText" presStyleLbl="node1" presStyleIdx="0" presStyleCnt="2" custScaleY="4414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2755C6-1809-4663-A22F-C1DFB6134430}" type="pres">
      <dgm:prSet presAssocID="{3D5A06C8-08B7-43AC-8ADC-5E93001A7614}" presName="descendantText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64CA3C-5AC3-45A4-A41E-88754237742A}" type="pres">
      <dgm:prSet presAssocID="{89914519-9608-4E26-A8A4-F17638E040D0}" presName="sp" presStyleCnt="0"/>
      <dgm:spPr/>
    </dgm:pt>
    <dgm:pt modelId="{081318AF-A2B4-4D38-9038-5E7151227B8B}" type="pres">
      <dgm:prSet presAssocID="{02A4D10A-BAC3-4850-9590-D5D2A8F118D8}" presName="linNode" presStyleCnt="0"/>
      <dgm:spPr/>
    </dgm:pt>
    <dgm:pt modelId="{BCD314F2-D66E-4D6C-8D5C-238197859DE1}" type="pres">
      <dgm:prSet presAssocID="{02A4D10A-BAC3-4850-9590-D5D2A8F118D8}" presName="parentText" presStyleLbl="node1" presStyleIdx="1" presStyleCnt="2" custScaleY="4997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C30CE4-A575-41E2-BAB9-D3EE8DC3AB96}" type="pres">
      <dgm:prSet presAssocID="{02A4D10A-BAC3-4850-9590-D5D2A8F118D8}" presName="descendantText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246E5B0-8D8B-4B41-AEF2-AA9E34FE452C}" type="presOf" srcId="{D90FA121-E908-4D4E-BFB8-E6641E743AA6}" destId="{8AC30CE4-A575-41E2-BAB9-D3EE8DC3AB96}" srcOrd="0" destOrd="0" presId="urn:microsoft.com/office/officeart/2005/8/layout/vList5"/>
    <dgm:cxn modelId="{2C2DF1E9-3BF3-8C47-A688-E592C53EC01B}" type="presOf" srcId="{EB0E4327-2366-4EC3-97E9-DA703A1C1FA0}" destId="{656C7711-97A5-4F42-95CD-D4FCF9907461}" srcOrd="0" destOrd="0" presId="urn:microsoft.com/office/officeart/2005/8/layout/vList5"/>
    <dgm:cxn modelId="{5B428374-AF88-4A12-8BCE-EC0C3C917AC7}" srcId="{EB0E4327-2366-4EC3-97E9-DA703A1C1FA0}" destId="{3D5A06C8-08B7-43AC-8ADC-5E93001A7614}" srcOrd="0" destOrd="0" parTransId="{639DC35B-C7B5-42D7-9909-F8117E91E553}" sibTransId="{89914519-9608-4E26-A8A4-F17638E040D0}"/>
    <dgm:cxn modelId="{2A5D72D8-91A5-4439-AA73-6E089AC80152}" srcId="{02A4D10A-BAC3-4850-9590-D5D2A8F118D8}" destId="{D90FA121-E908-4D4E-BFB8-E6641E743AA6}" srcOrd="0" destOrd="0" parTransId="{E970B7EC-330D-4F0D-B4E6-242987184F59}" sibTransId="{28613F56-5D5F-4499-8F02-BC5D17C9FEAD}"/>
    <dgm:cxn modelId="{853C9406-AB9D-454A-AE00-E7A5CB16C456}" srcId="{EB0E4327-2366-4EC3-97E9-DA703A1C1FA0}" destId="{02A4D10A-BAC3-4850-9590-D5D2A8F118D8}" srcOrd="1" destOrd="0" parTransId="{23A52DD1-478A-41A7-8622-E4F6F4F3DD68}" sibTransId="{99B712CD-4F67-4FD0-84C5-D88ADB25CED2}"/>
    <dgm:cxn modelId="{FD1734D5-5879-A649-93FD-F28CC4F6B575}" type="presOf" srcId="{4D5D7184-60C3-D04E-AFA6-8DCF077EAD34}" destId="{8AC30CE4-A575-41E2-BAB9-D3EE8DC3AB96}" srcOrd="0" destOrd="3" presId="urn:microsoft.com/office/officeart/2005/8/layout/vList5"/>
    <dgm:cxn modelId="{2A36846E-8045-A74E-B7FB-EE7725FFEE73}" type="presOf" srcId="{3D5A06C8-08B7-43AC-8ADC-5E93001A7614}" destId="{D5969E9E-BDE7-4A28-A584-D90E8A4CA6B0}" srcOrd="0" destOrd="0" presId="urn:microsoft.com/office/officeart/2005/8/layout/vList5"/>
    <dgm:cxn modelId="{4B7DFE77-365F-AC44-97A0-E65E02DA3BBA}" type="presOf" srcId="{76DE23EA-B6A6-4D12-A3E5-2F48EB31950A}" destId="{C92755C6-1809-4663-A22F-C1DFB6134430}" srcOrd="0" destOrd="0" presId="urn:microsoft.com/office/officeart/2005/8/layout/vList5"/>
    <dgm:cxn modelId="{655F0F79-1DB9-A744-B751-91304B2108A1}" srcId="{3D5A06C8-08B7-43AC-8ADC-5E93001A7614}" destId="{E2F739B6-E7BB-9743-9713-6968030C0AC3}" srcOrd="1" destOrd="0" parTransId="{51E1AFBD-3E80-F249-BF01-6E520A0E55DF}" sibTransId="{7CFAD816-AD5D-6B4A-BDB1-B8FEB83FD21E}"/>
    <dgm:cxn modelId="{73E8893F-BA5C-A540-AEAE-E7CCDC6B6C77}" type="presOf" srcId="{47CAC820-6C65-214A-A1D8-FC35CA34478C}" destId="{8AC30CE4-A575-41E2-BAB9-D3EE8DC3AB96}" srcOrd="0" destOrd="2" presId="urn:microsoft.com/office/officeart/2005/8/layout/vList5"/>
    <dgm:cxn modelId="{F8824A5E-BFEC-024B-89D0-432D7F8725F5}" type="presOf" srcId="{88A52B51-60D5-8348-8382-243B66CE3E3E}" destId="{8AC30CE4-A575-41E2-BAB9-D3EE8DC3AB96}" srcOrd="0" destOrd="1" presId="urn:microsoft.com/office/officeart/2005/8/layout/vList5"/>
    <dgm:cxn modelId="{C1C546AB-BA3C-CB47-9983-280C13034A37}" srcId="{02A4D10A-BAC3-4850-9590-D5D2A8F118D8}" destId="{88A52B51-60D5-8348-8382-243B66CE3E3E}" srcOrd="1" destOrd="0" parTransId="{3DF3CD25-6DBE-EC45-B642-DF23FA81FC5F}" sibTransId="{65CFE3CA-7521-6B43-A97D-5B8A23E303BB}"/>
    <dgm:cxn modelId="{E1B8BAD1-FF64-B941-A83E-C305A47B38B7}" srcId="{3D5A06C8-08B7-43AC-8ADC-5E93001A7614}" destId="{3DEC7C6F-02C4-8740-99E1-0DEEB6E85F5A}" srcOrd="2" destOrd="0" parTransId="{F52A6C61-418C-104A-A5C4-F082CB7D3B1A}" sibTransId="{C67263AB-34CD-7B40-BE6A-200B3BBB25CE}"/>
    <dgm:cxn modelId="{E5652E03-1B4A-494E-BD2C-0E2FC31C054B}" type="presOf" srcId="{E2F739B6-E7BB-9743-9713-6968030C0AC3}" destId="{C92755C6-1809-4663-A22F-C1DFB6134430}" srcOrd="0" destOrd="1" presId="urn:microsoft.com/office/officeart/2005/8/layout/vList5"/>
    <dgm:cxn modelId="{4732847D-8F0F-0541-936C-9F13F299D392}" type="presOf" srcId="{02A4D10A-BAC3-4850-9590-D5D2A8F118D8}" destId="{BCD314F2-D66E-4D6C-8D5C-238197859DE1}" srcOrd="0" destOrd="0" presId="urn:microsoft.com/office/officeart/2005/8/layout/vList5"/>
    <dgm:cxn modelId="{7DF58651-3E8C-40D8-B14A-1EC1D4CBB248}" srcId="{3D5A06C8-08B7-43AC-8ADC-5E93001A7614}" destId="{76DE23EA-B6A6-4D12-A3E5-2F48EB31950A}" srcOrd="0" destOrd="0" parTransId="{3732DC23-EEED-4477-B5F5-89121D8FA440}" sibTransId="{2C28D166-12CD-4F7E-A09C-C22098397F1A}"/>
    <dgm:cxn modelId="{36BC007B-D0DC-874C-852E-B1546D985ADB}" srcId="{02A4D10A-BAC3-4850-9590-D5D2A8F118D8}" destId="{47CAC820-6C65-214A-A1D8-FC35CA34478C}" srcOrd="2" destOrd="0" parTransId="{2A58FD2E-3B50-8B4E-8C7B-B4AEE02C10C0}" sibTransId="{48BB0259-5F64-C540-8E38-FBAB7D2ACE9E}"/>
    <dgm:cxn modelId="{FE2A23B3-F2C3-9E44-BFFF-83705445C318}" srcId="{02A4D10A-BAC3-4850-9590-D5D2A8F118D8}" destId="{4D5D7184-60C3-D04E-AFA6-8DCF077EAD34}" srcOrd="3" destOrd="0" parTransId="{8F4B8F56-1279-9B49-BAE9-74A3D2C11BC6}" sibTransId="{270C8C13-DA14-8846-8962-7C7CC71D3D94}"/>
    <dgm:cxn modelId="{4D16A446-2D18-504C-85E0-CC2D5E7A6BB8}" type="presOf" srcId="{3DEC7C6F-02C4-8740-99E1-0DEEB6E85F5A}" destId="{C92755C6-1809-4663-A22F-C1DFB6134430}" srcOrd="0" destOrd="2" presId="urn:microsoft.com/office/officeart/2005/8/layout/vList5"/>
    <dgm:cxn modelId="{D82E7B99-EF3B-CA46-BAB9-FDAE9897C25E}" type="presParOf" srcId="{656C7711-97A5-4F42-95CD-D4FCF9907461}" destId="{58AE1637-2A84-44A2-BBF6-BCC222F16971}" srcOrd="0" destOrd="0" presId="urn:microsoft.com/office/officeart/2005/8/layout/vList5"/>
    <dgm:cxn modelId="{4E37D68D-764A-1F4F-83DB-FFB351EC3F18}" type="presParOf" srcId="{58AE1637-2A84-44A2-BBF6-BCC222F16971}" destId="{D5969E9E-BDE7-4A28-A584-D90E8A4CA6B0}" srcOrd="0" destOrd="0" presId="urn:microsoft.com/office/officeart/2005/8/layout/vList5"/>
    <dgm:cxn modelId="{1F71511C-06E5-DB4B-8577-DD14E39DF4C3}" type="presParOf" srcId="{58AE1637-2A84-44A2-BBF6-BCC222F16971}" destId="{C92755C6-1809-4663-A22F-C1DFB6134430}" srcOrd="1" destOrd="0" presId="urn:microsoft.com/office/officeart/2005/8/layout/vList5"/>
    <dgm:cxn modelId="{8DCCA785-FBC1-964F-8623-191C467ECB97}" type="presParOf" srcId="{656C7711-97A5-4F42-95CD-D4FCF9907461}" destId="{0C64CA3C-5AC3-45A4-A41E-88754237742A}" srcOrd="1" destOrd="0" presId="urn:microsoft.com/office/officeart/2005/8/layout/vList5"/>
    <dgm:cxn modelId="{CB6D50F4-DEDC-0841-932F-F8D2043BD3F9}" type="presParOf" srcId="{656C7711-97A5-4F42-95CD-D4FCF9907461}" destId="{081318AF-A2B4-4D38-9038-5E7151227B8B}" srcOrd="2" destOrd="0" presId="urn:microsoft.com/office/officeart/2005/8/layout/vList5"/>
    <dgm:cxn modelId="{E7ED16E7-943D-4547-BDEB-8AB19E15DE7F}" type="presParOf" srcId="{081318AF-A2B4-4D38-9038-5E7151227B8B}" destId="{BCD314F2-D66E-4D6C-8D5C-238197859DE1}" srcOrd="0" destOrd="0" presId="urn:microsoft.com/office/officeart/2005/8/layout/vList5"/>
    <dgm:cxn modelId="{0BB3899B-8AA7-2F4B-AD91-81336BF8E56A}" type="presParOf" srcId="{081318AF-A2B4-4D38-9038-5E7151227B8B}" destId="{8AC30CE4-A575-41E2-BAB9-D3EE8DC3AB9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B0E4327-2366-4EC3-97E9-DA703A1C1FA0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D6A2C89-AFCC-4250-A1A7-5AA1D033911A}">
      <dgm:prSet phldrT="[Text]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en-US" dirty="0" smtClean="0">
              <a:latin typeface="+mn-lt"/>
            </a:rPr>
            <a:t>Connector</a:t>
          </a:r>
          <a:endParaRPr lang="en-US" dirty="0">
            <a:latin typeface="+mn-lt"/>
          </a:endParaRPr>
        </a:p>
      </dgm:t>
    </dgm:pt>
    <dgm:pt modelId="{95EDC4B2-A1CA-494A-B5A4-3EA52EF71C83}" type="parTrans" cxnId="{5FB5853C-A732-4FB1-94BB-6AB09DCF8FB7}">
      <dgm:prSet/>
      <dgm:spPr/>
      <dgm:t>
        <a:bodyPr/>
        <a:lstStyle/>
        <a:p>
          <a:endParaRPr lang="en-US"/>
        </a:p>
      </dgm:t>
    </dgm:pt>
    <dgm:pt modelId="{1328E211-D6D6-4179-A520-95087D19F2B0}" type="sibTrans" cxnId="{5FB5853C-A732-4FB1-94BB-6AB09DCF8FB7}">
      <dgm:prSet/>
      <dgm:spPr/>
      <dgm:t>
        <a:bodyPr/>
        <a:lstStyle/>
        <a:p>
          <a:endParaRPr lang="en-US"/>
        </a:p>
      </dgm:t>
    </dgm:pt>
    <dgm:pt modelId="{B0E2D0F0-F12E-457D-A4C0-AB2A9FC4F67B}">
      <dgm:prSet phldrT="[Text]"/>
      <dgm:spPr>
        <a:noFill/>
        <a:ln>
          <a:noFill/>
        </a:ln>
      </dgm:spPr>
      <dgm:t>
        <a:bodyPr/>
        <a:lstStyle/>
        <a:p>
          <a:r>
            <a:rPr lang="en-US" smtClean="0">
              <a:solidFill>
                <a:schemeClr val="bg1"/>
              </a:solidFill>
              <a:effectLst/>
              <a:latin typeface="+mn-lt"/>
              <a:ea typeface="+mn-ea"/>
              <a:cs typeface="+mn-cs"/>
            </a:rPr>
            <a:t>Interface to manage 3</a:t>
          </a:r>
          <a:r>
            <a:rPr lang="en-US" baseline="30000" smtClean="0">
              <a:solidFill>
                <a:schemeClr val="bg1"/>
              </a:solidFill>
              <a:effectLst/>
              <a:latin typeface="+mn-lt"/>
              <a:ea typeface="+mn-ea"/>
              <a:cs typeface="+mn-cs"/>
            </a:rPr>
            <a:t>rd</a:t>
          </a:r>
          <a:r>
            <a:rPr lang="en-US" smtClean="0">
              <a:solidFill>
                <a:schemeClr val="bg1"/>
              </a:solidFill>
              <a:effectLst/>
              <a:latin typeface="+mn-lt"/>
              <a:ea typeface="+mn-ea"/>
              <a:cs typeface="+mn-cs"/>
            </a:rPr>
            <a:t> party integrations and authentication information</a:t>
          </a:r>
          <a:endParaRPr lang="en-US">
            <a:solidFill>
              <a:schemeClr val="bg1"/>
            </a:solidFill>
            <a:latin typeface="+mn-lt"/>
          </a:endParaRPr>
        </a:p>
      </dgm:t>
    </dgm:pt>
    <dgm:pt modelId="{7BBFCA03-11C0-4A53-BC74-6DF8EF5AD580}" type="parTrans" cxnId="{70039C9A-2997-470F-AF4F-A5E6A824DCA0}">
      <dgm:prSet/>
      <dgm:spPr/>
      <dgm:t>
        <a:bodyPr/>
        <a:lstStyle/>
        <a:p>
          <a:endParaRPr lang="en-US"/>
        </a:p>
      </dgm:t>
    </dgm:pt>
    <dgm:pt modelId="{1270F7C7-7927-452B-B9DE-34658E24A13D}" type="sibTrans" cxnId="{70039C9A-2997-470F-AF4F-A5E6A824DCA0}">
      <dgm:prSet/>
      <dgm:spPr/>
      <dgm:t>
        <a:bodyPr/>
        <a:lstStyle/>
        <a:p>
          <a:endParaRPr lang="en-US"/>
        </a:p>
      </dgm:t>
    </dgm:pt>
    <dgm:pt modelId="{DB462A1F-AD46-444C-AFC8-47A48176587F}">
      <dgm:prSet phldrT="[Text]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en-US" smtClean="0">
              <a:latin typeface="+mn-lt"/>
            </a:rPr>
            <a:t>Template</a:t>
          </a:r>
          <a:endParaRPr lang="en-US">
            <a:latin typeface="+mn-lt"/>
          </a:endParaRPr>
        </a:p>
      </dgm:t>
    </dgm:pt>
    <dgm:pt modelId="{F4B5F1C8-1C02-4782-97CA-97ECDCB62ACE}" type="parTrans" cxnId="{C40F0273-6356-4C6A-AA57-CFCA1A2EAC6F}">
      <dgm:prSet/>
      <dgm:spPr/>
      <dgm:t>
        <a:bodyPr/>
        <a:lstStyle/>
        <a:p>
          <a:endParaRPr lang="en-US"/>
        </a:p>
      </dgm:t>
    </dgm:pt>
    <dgm:pt modelId="{D7BED4A8-32B5-4F15-B149-14AA465D15F7}" type="sibTrans" cxnId="{C40F0273-6356-4C6A-AA57-CFCA1A2EAC6F}">
      <dgm:prSet/>
      <dgm:spPr/>
      <dgm:t>
        <a:bodyPr/>
        <a:lstStyle/>
        <a:p>
          <a:endParaRPr lang="en-US"/>
        </a:p>
      </dgm:t>
    </dgm:pt>
    <dgm:pt modelId="{4E4B1C28-0450-4E64-9B29-18AAD9D4911C}">
      <dgm:prSet phldrT="[Text]"/>
      <dgm:spPr>
        <a:noFill/>
        <a:ln>
          <a:noFill/>
        </a:ln>
      </dgm:spPr>
      <dgm:t>
        <a:bodyPr/>
        <a:lstStyle/>
        <a:p>
          <a:r>
            <a:rPr lang="en-US" smtClean="0">
              <a:solidFill>
                <a:schemeClr val="bg1"/>
              </a:solidFill>
              <a:latin typeface="+mn-lt"/>
            </a:rPr>
            <a:t>Collection of files that manage input, output, and publishing conditions for templated assets</a:t>
          </a:r>
          <a:endParaRPr lang="en-US">
            <a:solidFill>
              <a:schemeClr val="bg1"/>
            </a:solidFill>
            <a:latin typeface="+mn-lt"/>
          </a:endParaRPr>
        </a:p>
      </dgm:t>
    </dgm:pt>
    <dgm:pt modelId="{D27837C2-63E1-48ED-9B1E-F059C29B8C2A}" type="parTrans" cxnId="{117B0F5E-ED40-4DB3-B3F3-5EBA2A819D42}">
      <dgm:prSet/>
      <dgm:spPr/>
      <dgm:t>
        <a:bodyPr/>
        <a:lstStyle/>
        <a:p>
          <a:endParaRPr lang="en-US"/>
        </a:p>
      </dgm:t>
    </dgm:pt>
    <dgm:pt modelId="{D202DAD4-8654-455A-87B1-C3B194EAD1DB}" type="sibTrans" cxnId="{117B0F5E-ED40-4DB3-B3F3-5EBA2A819D42}">
      <dgm:prSet/>
      <dgm:spPr/>
      <dgm:t>
        <a:bodyPr/>
        <a:lstStyle/>
        <a:p>
          <a:endParaRPr lang="en-US"/>
        </a:p>
      </dgm:t>
    </dgm:pt>
    <dgm:pt modelId="{3C9AC50D-003A-5C47-9243-466CAE073E9A}">
      <dgm:prSet phldrT="[Text]"/>
      <dgm:spPr>
        <a:noFill/>
        <a:ln>
          <a:noFill/>
        </a:ln>
      </dgm:spPr>
      <dgm:t>
        <a:bodyPr/>
        <a:lstStyle/>
        <a:p>
          <a:r>
            <a:rPr lang="en-US" baseline="0" smtClean="0">
              <a:solidFill>
                <a:schemeClr val="bg1"/>
              </a:solidFill>
              <a:effectLst/>
              <a:latin typeface="+mn-lt"/>
              <a:ea typeface="+mn-ea"/>
              <a:cs typeface="+mn-cs"/>
            </a:rPr>
            <a:t>Settings &gt; Configuration &gt; Connectors to add accounts </a:t>
          </a:r>
          <a:endParaRPr lang="en-US">
            <a:solidFill>
              <a:schemeClr val="bg1"/>
            </a:solidFill>
            <a:latin typeface="+mn-lt"/>
          </a:endParaRPr>
        </a:p>
      </dgm:t>
    </dgm:pt>
    <dgm:pt modelId="{176D4171-BD2D-4343-9A2A-0B799930A186}" type="parTrans" cxnId="{18AF9E5A-BCA9-3F4D-9CF8-06640AB83F00}">
      <dgm:prSet/>
      <dgm:spPr/>
      <dgm:t>
        <a:bodyPr/>
        <a:lstStyle/>
        <a:p>
          <a:endParaRPr lang="en-US"/>
        </a:p>
      </dgm:t>
    </dgm:pt>
    <dgm:pt modelId="{A6EBBDDE-1F8C-BA45-9B48-E3EC5B36F9AB}" type="sibTrans" cxnId="{18AF9E5A-BCA9-3F4D-9CF8-06640AB83F00}">
      <dgm:prSet/>
      <dgm:spPr/>
      <dgm:t>
        <a:bodyPr/>
        <a:lstStyle/>
        <a:p>
          <a:endParaRPr lang="en-US"/>
        </a:p>
      </dgm:t>
    </dgm:pt>
    <dgm:pt modelId="{656C7711-97A5-4F42-95CD-D4FCF9907461}" type="pres">
      <dgm:prSet presAssocID="{EB0E4327-2366-4EC3-97E9-DA703A1C1FA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61EA1A8-F1D7-4D25-BE71-DA025722C414}" type="pres">
      <dgm:prSet presAssocID="{1D6A2C89-AFCC-4250-A1A7-5AA1D033911A}" presName="linNode" presStyleCnt="0"/>
      <dgm:spPr/>
    </dgm:pt>
    <dgm:pt modelId="{80331947-AA3C-4A92-90BA-36B9BED8210D}" type="pres">
      <dgm:prSet presAssocID="{1D6A2C89-AFCC-4250-A1A7-5AA1D033911A}" presName="parentText" presStyleLbl="node1" presStyleIdx="0" presStyleCnt="2" custScaleY="4033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4AB8BA-EA57-4004-999E-DBC87D8AB9F0}" type="pres">
      <dgm:prSet presAssocID="{1D6A2C89-AFCC-4250-A1A7-5AA1D033911A}" presName="descendantText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240CF5-DF2B-4CE4-9935-A563A747D24C}" type="pres">
      <dgm:prSet presAssocID="{1328E211-D6D6-4179-A520-95087D19F2B0}" presName="sp" presStyleCnt="0"/>
      <dgm:spPr/>
    </dgm:pt>
    <dgm:pt modelId="{2590529D-CB4E-422F-8167-54F731ADAD7B}" type="pres">
      <dgm:prSet presAssocID="{DB462A1F-AD46-444C-AFC8-47A48176587F}" presName="linNode" presStyleCnt="0"/>
      <dgm:spPr/>
    </dgm:pt>
    <dgm:pt modelId="{1AA7CE0A-A684-41CD-87D4-508D91B05294}" type="pres">
      <dgm:prSet presAssocID="{DB462A1F-AD46-444C-AFC8-47A48176587F}" presName="parentText" presStyleLbl="node1" presStyleIdx="1" presStyleCnt="2" custScaleY="4033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F662D3-6F2E-41D0-9003-4CDE8AC39B8D}" type="pres">
      <dgm:prSet presAssocID="{DB462A1F-AD46-444C-AFC8-47A48176587F}" presName="descendantText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8EDA114-6EBD-0542-AC77-467AFF206C17}" type="presOf" srcId="{1D6A2C89-AFCC-4250-A1A7-5AA1D033911A}" destId="{80331947-AA3C-4A92-90BA-36B9BED8210D}" srcOrd="0" destOrd="0" presId="urn:microsoft.com/office/officeart/2005/8/layout/vList5"/>
    <dgm:cxn modelId="{3FCBBF87-B93F-8F44-A3ED-2BDBE01C7AA4}" type="presOf" srcId="{3C9AC50D-003A-5C47-9243-466CAE073E9A}" destId="{864AB8BA-EA57-4004-999E-DBC87D8AB9F0}" srcOrd="0" destOrd="1" presId="urn:microsoft.com/office/officeart/2005/8/layout/vList5"/>
    <dgm:cxn modelId="{5EA2A7BD-7AF1-654B-85A8-519D969E3467}" type="presOf" srcId="{B0E2D0F0-F12E-457D-A4C0-AB2A9FC4F67B}" destId="{864AB8BA-EA57-4004-999E-DBC87D8AB9F0}" srcOrd="0" destOrd="0" presId="urn:microsoft.com/office/officeart/2005/8/layout/vList5"/>
    <dgm:cxn modelId="{70039C9A-2997-470F-AF4F-A5E6A824DCA0}" srcId="{1D6A2C89-AFCC-4250-A1A7-5AA1D033911A}" destId="{B0E2D0F0-F12E-457D-A4C0-AB2A9FC4F67B}" srcOrd="0" destOrd="0" parTransId="{7BBFCA03-11C0-4A53-BC74-6DF8EF5AD580}" sibTransId="{1270F7C7-7927-452B-B9DE-34658E24A13D}"/>
    <dgm:cxn modelId="{18AF9E5A-BCA9-3F4D-9CF8-06640AB83F00}" srcId="{1D6A2C89-AFCC-4250-A1A7-5AA1D033911A}" destId="{3C9AC50D-003A-5C47-9243-466CAE073E9A}" srcOrd="1" destOrd="0" parTransId="{176D4171-BD2D-4343-9A2A-0B799930A186}" sibTransId="{A6EBBDDE-1F8C-BA45-9B48-E3EC5B36F9AB}"/>
    <dgm:cxn modelId="{117B0F5E-ED40-4DB3-B3F3-5EBA2A819D42}" srcId="{DB462A1F-AD46-444C-AFC8-47A48176587F}" destId="{4E4B1C28-0450-4E64-9B29-18AAD9D4911C}" srcOrd="0" destOrd="0" parTransId="{D27837C2-63E1-48ED-9B1E-F059C29B8C2A}" sibTransId="{D202DAD4-8654-455A-87B1-C3B194EAD1DB}"/>
    <dgm:cxn modelId="{5FB5853C-A732-4FB1-94BB-6AB09DCF8FB7}" srcId="{EB0E4327-2366-4EC3-97E9-DA703A1C1FA0}" destId="{1D6A2C89-AFCC-4250-A1A7-5AA1D033911A}" srcOrd="0" destOrd="0" parTransId="{95EDC4B2-A1CA-494A-B5A4-3EA52EF71C83}" sibTransId="{1328E211-D6D6-4179-A520-95087D19F2B0}"/>
    <dgm:cxn modelId="{08910729-FBB9-E648-887F-1800F4445844}" type="presOf" srcId="{4E4B1C28-0450-4E64-9B29-18AAD9D4911C}" destId="{6CF662D3-6F2E-41D0-9003-4CDE8AC39B8D}" srcOrd="0" destOrd="0" presId="urn:microsoft.com/office/officeart/2005/8/layout/vList5"/>
    <dgm:cxn modelId="{C40F0273-6356-4C6A-AA57-CFCA1A2EAC6F}" srcId="{EB0E4327-2366-4EC3-97E9-DA703A1C1FA0}" destId="{DB462A1F-AD46-444C-AFC8-47A48176587F}" srcOrd="1" destOrd="0" parTransId="{F4B5F1C8-1C02-4782-97CA-97ECDCB62ACE}" sibTransId="{D7BED4A8-32B5-4F15-B149-14AA465D15F7}"/>
    <dgm:cxn modelId="{CD2B2879-C1BA-D04B-9DD8-039939A6468E}" type="presOf" srcId="{DB462A1F-AD46-444C-AFC8-47A48176587F}" destId="{1AA7CE0A-A684-41CD-87D4-508D91B05294}" srcOrd="0" destOrd="0" presId="urn:microsoft.com/office/officeart/2005/8/layout/vList5"/>
    <dgm:cxn modelId="{AC2D057A-5843-954B-90DD-A0DC954F90D8}" type="presOf" srcId="{EB0E4327-2366-4EC3-97E9-DA703A1C1FA0}" destId="{656C7711-97A5-4F42-95CD-D4FCF9907461}" srcOrd="0" destOrd="0" presId="urn:microsoft.com/office/officeart/2005/8/layout/vList5"/>
    <dgm:cxn modelId="{C0620905-95D0-744C-B188-A5ECBA848636}" type="presParOf" srcId="{656C7711-97A5-4F42-95CD-D4FCF9907461}" destId="{761EA1A8-F1D7-4D25-BE71-DA025722C414}" srcOrd="0" destOrd="0" presId="urn:microsoft.com/office/officeart/2005/8/layout/vList5"/>
    <dgm:cxn modelId="{315FEA0C-6B09-754C-B9E4-DF26656CD1FB}" type="presParOf" srcId="{761EA1A8-F1D7-4D25-BE71-DA025722C414}" destId="{80331947-AA3C-4A92-90BA-36B9BED8210D}" srcOrd="0" destOrd="0" presId="urn:microsoft.com/office/officeart/2005/8/layout/vList5"/>
    <dgm:cxn modelId="{E08C429D-60B8-024E-A821-64CB4366F04D}" type="presParOf" srcId="{761EA1A8-F1D7-4D25-BE71-DA025722C414}" destId="{864AB8BA-EA57-4004-999E-DBC87D8AB9F0}" srcOrd="1" destOrd="0" presId="urn:microsoft.com/office/officeart/2005/8/layout/vList5"/>
    <dgm:cxn modelId="{143AE72A-9766-0044-9410-D9910D945EE7}" type="presParOf" srcId="{656C7711-97A5-4F42-95CD-D4FCF9907461}" destId="{72240CF5-DF2B-4CE4-9935-A563A747D24C}" srcOrd="1" destOrd="0" presId="urn:microsoft.com/office/officeart/2005/8/layout/vList5"/>
    <dgm:cxn modelId="{D36E398D-2666-504A-A156-C7FC6C781602}" type="presParOf" srcId="{656C7711-97A5-4F42-95CD-D4FCF9907461}" destId="{2590529D-CB4E-422F-8167-54F731ADAD7B}" srcOrd="2" destOrd="0" presId="urn:microsoft.com/office/officeart/2005/8/layout/vList5"/>
    <dgm:cxn modelId="{DDF19B35-5DA5-304B-AB1E-7CE4F024DABF}" type="presParOf" srcId="{2590529D-CB4E-422F-8167-54F731ADAD7B}" destId="{1AA7CE0A-A684-41CD-87D4-508D91B05294}" srcOrd="0" destOrd="0" presId="urn:microsoft.com/office/officeart/2005/8/layout/vList5"/>
    <dgm:cxn modelId="{A8AC8D91-F316-A649-860F-4B63A996A473}" type="presParOf" srcId="{2590529D-CB4E-422F-8167-54F731ADAD7B}" destId="{6CF662D3-6F2E-41D0-9003-4CDE8AC39B8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B0E4327-2366-4EC3-97E9-DA703A1C1FA0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0363415-72BA-4D53-9997-6EFF1B7D0757}">
      <dgm:prSet phldrT="[Text]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en-US" smtClean="0">
              <a:latin typeface="+mn-lt"/>
            </a:rPr>
            <a:t>Site</a:t>
          </a:r>
          <a:endParaRPr lang="en-US">
            <a:latin typeface="+mn-lt"/>
          </a:endParaRPr>
        </a:p>
      </dgm:t>
    </dgm:pt>
    <dgm:pt modelId="{44DF1674-DD01-4865-B59A-F717F7CA4989}" type="parTrans" cxnId="{375A9E1C-EA4E-4F56-BF1F-D47E76CD0F35}">
      <dgm:prSet/>
      <dgm:spPr/>
      <dgm:t>
        <a:bodyPr/>
        <a:lstStyle/>
        <a:p>
          <a:endParaRPr lang="en-US"/>
        </a:p>
      </dgm:t>
    </dgm:pt>
    <dgm:pt modelId="{E13D73FB-9E75-4B21-A3B5-D172D450FED8}" type="sibTrans" cxnId="{375A9E1C-EA4E-4F56-BF1F-D47E76CD0F35}">
      <dgm:prSet/>
      <dgm:spPr/>
      <dgm:t>
        <a:bodyPr/>
        <a:lstStyle/>
        <a:p>
          <a:endParaRPr lang="en-US"/>
        </a:p>
      </dgm:t>
    </dgm:pt>
    <dgm:pt modelId="{128B6735-113B-4147-ABCC-0E76F5B97D3C}">
      <dgm:prSet phldrT="[Text]"/>
      <dgm:spPr>
        <a:noFill/>
        <a:ln>
          <a:noFill/>
        </a:ln>
      </dgm:spPr>
      <dgm:t>
        <a:bodyPr/>
        <a:lstStyle/>
        <a:p>
          <a:r>
            <a:rPr lang="en-US" smtClean="0">
              <a:solidFill>
                <a:schemeClr val="bg1"/>
              </a:solidFill>
              <a:latin typeface="+mn-lt"/>
            </a:rPr>
            <a:t>Folder type for a site</a:t>
          </a:r>
          <a:endParaRPr lang="en-US">
            <a:solidFill>
              <a:schemeClr val="bg1"/>
            </a:solidFill>
            <a:latin typeface="+mn-lt"/>
          </a:endParaRPr>
        </a:p>
      </dgm:t>
    </dgm:pt>
    <dgm:pt modelId="{995E84D6-1D52-42B4-AEC5-05D8C8BFBE14}" type="parTrans" cxnId="{E35A193B-0E1C-4205-8E9B-8459BDF5C196}">
      <dgm:prSet/>
      <dgm:spPr/>
      <dgm:t>
        <a:bodyPr/>
        <a:lstStyle/>
        <a:p>
          <a:endParaRPr lang="en-US"/>
        </a:p>
      </dgm:t>
    </dgm:pt>
    <dgm:pt modelId="{040D4CB4-A35A-4695-B76B-574C3B395DCB}" type="sibTrans" cxnId="{E35A193B-0E1C-4205-8E9B-8459BDF5C196}">
      <dgm:prSet/>
      <dgm:spPr/>
      <dgm:t>
        <a:bodyPr/>
        <a:lstStyle/>
        <a:p>
          <a:endParaRPr lang="en-US"/>
        </a:p>
      </dgm:t>
    </dgm:pt>
    <dgm:pt modelId="{EC274C7A-39D0-47A0-BC13-8F8A43C5EA9D}">
      <dgm:prSet phldrT="[Text]"/>
      <dgm:spPr>
        <a:noFill/>
        <a:ln>
          <a:noFill/>
        </a:ln>
      </dgm:spPr>
      <dgm:t>
        <a:bodyPr/>
        <a:lstStyle/>
        <a:p>
          <a:r>
            <a:rPr lang="en-US" smtClean="0">
              <a:solidFill>
                <a:schemeClr val="bg1"/>
              </a:solidFill>
              <a:latin typeface="+mn-lt"/>
            </a:rPr>
            <a:t>For example: www.domainname.co.uk</a:t>
          </a:r>
          <a:endParaRPr lang="en-US">
            <a:solidFill>
              <a:schemeClr val="bg1"/>
            </a:solidFill>
            <a:latin typeface="+mn-lt"/>
          </a:endParaRPr>
        </a:p>
      </dgm:t>
    </dgm:pt>
    <dgm:pt modelId="{34C79DEA-093B-41E3-A2CD-7308C402FB99}" type="parTrans" cxnId="{E9D52457-B0F2-44E3-95C5-4B9414628C9A}">
      <dgm:prSet/>
      <dgm:spPr/>
      <dgm:t>
        <a:bodyPr/>
        <a:lstStyle/>
        <a:p>
          <a:endParaRPr lang="en-US"/>
        </a:p>
      </dgm:t>
    </dgm:pt>
    <dgm:pt modelId="{F75AC05A-2EB4-466D-8206-88D7DD3BA8F8}" type="sibTrans" cxnId="{E9D52457-B0F2-44E3-95C5-4B9414628C9A}">
      <dgm:prSet/>
      <dgm:spPr/>
      <dgm:t>
        <a:bodyPr/>
        <a:lstStyle/>
        <a:p>
          <a:endParaRPr lang="en-US"/>
        </a:p>
      </dgm:t>
    </dgm:pt>
    <dgm:pt modelId="{F70B1199-2800-4432-9BA5-8D7376032C6A}">
      <dgm:prSet phldrT="[Text]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en-US" dirty="0" smtClean="0">
              <a:latin typeface="+mn-lt"/>
            </a:rPr>
            <a:t>Project</a:t>
          </a:r>
          <a:endParaRPr lang="en-US" dirty="0">
            <a:latin typeface="+mn-lt"/>
          </a:endParaRPr>
        </a:p>
      </dgm:t>
    </dgm:pt>
    <dgm:pt modelId="{F0DE7D50-6F68-45B1-BEBB-7426EE3E1240}" type="parTrans" cxnId="{E2167D1E-218A-4238-8967-29773A63E96F}">
      <dgm:prSet/>
      <dgm:spPr/>
      <dgm:t>
        <a:bodyPr/>
        <a:lstStyle/>
        <a:p>
          <a:endParaRPr lang="en-US"/>
        </a:p>
      </dgm:t>
    </dgm:pt>
    <dgm:pt modelId="{079184E4-D0F3-44B3-86F5-CAAC45DB9E38}" type="sibTrans" cxnId="{E2167D1E-218A-4238-8967-29773A63E96F}">
      <dgm:prSet/>
      <dgm:spPr/>
      <dgm:t>
        <a:bodyPr/>
        <a:lstStyle/>
        <a:p>
          <a:endParaRPr lang="en-US"/>
        </a:p>
      </dgm:t>
    </dgm:pt>
    <dgm:pt modelId="{7D22A2B0-8107-4584-9BCD-86DC0C931213}">
      <dgm:prSet phldrT="[Text]"/>
      <dgm:spPr>
        <a:noFill/>
        <a:ln>
          <a:noFill/>
        </a:ln>
      </dgm:spPr>
      <dgm:t>
        <a:bodyPr/>
        <a:lstStyle/>
        <a:p>
          <a:r>
            <a:rPr lang="en-US" smtClean="0">
              <a:solidFill>
                <a:schemeClr val="bg1"/>
              </a:solidFill>
              <a:latin typeface="+mn-lt"/>
            </a:rPr>
            <a:t>Folder type for templates, library, workflow and filename configuration for a site</a:t>
          </a:r>
          <a:endParaRPr lang="en-US">
            <a:solidFill>
              <a:schemeClr val="bg1"/>
            </a:solidFill>
            <a:latin typeface="+mn-lt"/>
          </a:endParaRPr>
        </a:p>
      </dgm:t>
    </dgm:pt>
    <dgm:pt modelId="{66DD357D-1702-41A0-9D58-F5F119B4F20A}" type="parTrans" cxnId="{0EA2FBB2-1906-46BA-9C81-0F2BB180882E}">
      <dgm:prSet/>
      <dgm:spPr/>
      <dgm:t>
        <a:bodyPr/>
        <a:lstStyle/>
        <a:p>
          <a:endParaRPr lang="en-US"/>
        </a:p>
      </dgm:t>
    </dgm:pt>
    <dgm:pt modelId="{D9A6D2EB-F50E-4626-B297-7AB709D9FF33}" type="sibTrans" cxnId="{0EA2FBB2-1906-46BA-9C81-0F2BB180882E}">
      <dgm:prSet/>
      <dgm:spPr/>
      <dgm:t>
        <a:bodyPr/>
        <a:lstStyle/>
        <a:p>
          <a:endParaRPr lang="en-US"/>
        </a:p>
      </dgm:t>
    </dgm:pt>
    <dgm:pt modelId="{9A3A5EB9-B44B-404D-BE83-B8678CCFE24D}">
      <dgm:prSet phldrT="[Text]"/>
      <dgm:spPr>
        <a:noFill/>
        <a:ln>
          <a:noFill/>
        </a:ln>
      </dgm:spPr>
      <dgm:t>
        <a:bodyPr/>
        <a:lstStyle/>
        <a:p>
          <a:r>
            <a:rPr lang="en-US" smtClean="0">
              <a:solidFill>
                <a:schemeClr val="bg1"/>
              </a:solidFill>
              <a:latin typeface="+mn-lt"/>
            </a:rPr>
            <a:t>A Project can form the basis of one or multiple Sites</a:t>
          </a:r>
          <a:endParaRPr lang="en-US">
            <a:solidFill>
              <a:schemeClr val="bg1"/>
            </a:solidFill>
            <a:latin typeface="+mn-lt"/>
          </a:endParaRPr>
        </a:p>
      </dgm:t>
    </dgm:pt>
    <dgm:pt modelId="{D8F0C39F-E63D-014E-B262-EDC53F1F2F27}" type="parTrans" cxnId="{6D5AC05B-5A0C-9E44-A936-3CDD590B4204}">
      <dgm:prSet/>
      <dgm:spPr/>
      <dgm:t>
        <a:bodyPr/>
        <a:lstStyle/>
        <a:p>
          <a:endParaRPr lang="en-US"/>
        </a:p>
      </dgm:t>
    </dgm:pt>
    <dgm:pt modelId="{CC6F6F2A-C0C0-4C4F-8608-90FCFB516DDA}" type="sibTrans" cxnId="{6D5AC05B-5A0C-9E44-A936-3CDD590B4204}">
      <dgm:prSet/>
      <dgm:spPr/>
      <dgm:t>
        <a:bodyPr/>
        <a:lstStyle/>
        <a:p>
          <a:endParaRPr lang="en-US"/>
        </a:p>
      </dgm:t>
    </dgm:pt>
    <dgm:pt modelId="{656C7711-97A5-4F42-95CD-D4FCF9907461}" type="pres">
      <dgm:prSet presAssocID="{EB0E4327-2366-4EC3-97E9-DA703A1C1FA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C1442C7-CA00-4A08-A368-1D65E754B44B}" type="pres">
      <dgm:prSet presAssocID="{80363415-72BA-4D53-9997-6EFF1B7D0757}" presName="linNode" presStyleCnt="0"/>
      <dgm:spPr/>
    </dgm:pt>
    <dgm:pt modelId="{99F8EF45-1B5B-4025-A197-154005FE3D67}" type="pres">
      <dgm:prSet presAssocID="{80363415-72BA-4D53-9997-6EFF1B7D0757}" presName="parentText" presStyleLbl="node1" presStyleIdx="0" presStyleCnt="2" custScaleY="4033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3429FA7-26D1-450B-84CD-82E87DD30866}" type="pres">
      <dgm:prSet presAssocID="{80363415-72BA-4D53-9997-6EFF1B7D0757}" presName="descendantText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84DBF39-E8AC-4B09-B7B6-A647FA0A31AA}" type="pres">
      <dgm:prSet presAssocID="{E13D73FB-9E75-4B21-A3B5-D172D450FED8}" presName="sp" presStyleCnt="0"/>
      <dgm:spPr/>
    </dgm:pt>
    <dgm:pt modelId="{0FF82D11-A7E8-43FC-8A2F-FFC5F4DDF7E3}" type="pres">
      <dgm:prSet presAssocID="{F70B1199-2800-4432-9BA5-8D7376032C6A}" presName="linNode" presStyleCnt="0"/>
      <dgm:spPr/>
    </dgm:pt>
    <dgm:pt modelId="{383BA78E-70B4-4CD2-9A35-9203C052A2EE}" type="pres">
      <dgm:prSet presAssocID="{F70B1199-2800-4432-9BA5-8D7376032C6A}" presName="parentText" presStyleLbl="node1" presStyleIdx="1" presStyleCnt="2" custScaleY="4033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45C0C7-A2ED-480B-8B70-7F01EA280FCA}" type="pres">
      <dgm:prSet presAssocID="{F70B1199-2800-4432-9BA5-8D7376032C6A}" presName="descendantText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EC62D40-42AD-CF4E-B2C9-4EFBC8CA7E96}" type="presOf" srcId="{F70B1199-2800-4432-9BA5-8D7376032C6A}" destId="{383BA78E-70B4-4CD2-9A35-9203C052A2EE}" srcOrd="0" destOrd="0" presId="urn:microsoft.com/office/officeart/2005/8/layout/vList5"/>
    <dgm:cxn modelId="{9FEA04E1-F491-614A-B8A4-70483E639283}" type="presOf" srcId="{7D22A2B0-8107-4584-9BCD-86DC0C931213}" destId="{9045C0C7-A2ED-480B-8B70-7F01EA280FCA}" srcOrd="0" destOrd="0" presId="urn:microsoft.com/office/officeart/2005/8/layout/vList5"/>
    <dgm:cxn modelId="{3B2ED3A1-8BF6-6648-9527-C53BD7C0BD12}" type="presOf" srcId="{80363415-72BA-4D53-9997-6EFF1B7D0757}" destId="{99F8EF45-1B5B-4025-A197-154005FE3D67}" srcOrd="0" destOrd="0" presId="urn:microsoft.com/office/officeart/2005/8/layout/vList5"/>
    <dgm:cxn modelId="{7C228462-476D-4B40-A701-F95AB72F54B8}" type="presOf" srcId="{9A3A5EB9-B44B-404D-BE83-B8678CCFE24D}" destId="{9045C0C7-A2ED-480B-8B70-7F01EA280FCA}" srcOrd="0" destOrd="1" presId="urn:microsoft.com/office/officeart/2005/8/layout/vList5"/>
    <dgm:cxn modelId="{6D5AC05B-5A0C-9E44-A936-3CDD590B4204}" srcId="{F70B1199-2800-4432-9BA5-8D7376032C6A}" destId="{9A3A5EB9-B44B-404D-BE83-B8678CCFE24D}" srcOrd="1" destOrd="0" parTransId="{D8F0C39F-E63D-014E-B262-EDC53F1F2F27}" sibTransId="{CC6F6F2A-C0C0-4C4F-8608-90FCFB516DDA}"/>
    <dgm:cxn modelId="{E35A193B-0E1C-4205-8E9B-8459BDF5C196}" srcId="{80363415-72BA-4D53-9997-6EFF1B7D0757}" destId="{128B6735-113B-4147-ABCC-0E76F5B97D3C}" srcOrd="0" destOrd="0" parTransId="{995E84D6-1D52-42B4-AEC5-05D8C8BFBE14}" sibTransId="{040D4CB4-A35A-4695-B76B-574C3B395DCB}"/>
    <dgm:cxn modelId="{7C674EED-EED8-194B-A103-9D986DBE406A}" type="presOf" srcId="{EC274C7A-39D0-47A0-BC13-8F8A43C5EA9D}" destId="{E3429FA7-26D1-450B-84CD-82E87DD30866}" srcOrd="0" destOrd="1" presId="urn:microsoft.com/office/officeart/2005/8/layout/vList5"/>
    <dgm:cxn modelId="{375A9E1C-EA4E-4F56-BF1F-D47E76CD0F35}" srcId="{EB0E4327-2366-4EC3-97E9-DA703A1C1FA0}" destId="{80363415-72BA-4D53-9997-6EFF1B7D0757}" srcOrd="0" destOrd="0" parTransId="{44DF1674-DD01-4865-B59A-F717F7CA4989}" sibTransId="{E13D73FB-9E75-4B21-A3B5-D172D450FED8}"/>
    <dgm:cxn modelId="{681D1817-EC71-2C40-82BA-9F3DACE13B7A}" type="presOf" srcId="{128B6735-113B-4147-ABCC-0E76F5B97D3C}" destId="{E3429FA7-26D1-450B-84CD-82E87DD30866}" srcOrd="0" destOrd="0" presId="urn:microsoft.com/office/officeart/2005/8/layout/vList5"/>
    <dgm:cxn modelId="{39163AD8-98A2-C64F-8DA5-1A3D96D3B49A}" type="presOf" srcId="{EB0E4327-2366-4EC3-97E9-DA703A1C1FA0}" destId="{656C7711-97A5-4F42-95CD-D4FCF9907461}" srcOrd="0" destOrd="0" presId="urn:microsoft.com/office/officeart/2005/8/layout/vList5"/>
    <dgm:cxn modelId="{E9D52457-B0F2-44E3-95C5-4B9414628C9A}" srcId="{80363415-72BA-4D53-9997-6EFF1B7D0757}" destId="{EC274C7A-39D0-47A0-BC13-8F8A43C5EA9D}" srcOrd="1" destOrd="0" parTransId="{34C79DEA-093B-41E3-A2CD-7308C402FB99}" sibTransId="{F75AC05A-2EB4-466D-8206-88D7DD3BA8F8}"/>
    <dgm:cxn modelId="{E2167D1E-218A-4238-8967-29773A63E96F}" srcId="{EB0E4327-2366-4EC3-97E9-DA703A1C1FA0}" destId="{F70B1199-2800-4432-9BA5-8D7376032C6A}" srcOrd="1" destOrd="0" parTransId="{F0DE7D50-6F68-45B1-BEBB-7426EE3E1240}" sibTransId="{079184E4-D0F3-44B3-86F5-CAAC45DB9E38}"/>
    <dgm:cxn modelId="{0EA2FBB2-1906-46BA-9C81-0F2BB180882E}" srcId="{F70B1199-2800-4432-9BA5-8D7376032C6A}" destId="{7D22A2B0-8107-4584-9BCD-86DC0C931213}" srcOrd="0" destOrd="0" parTransId="{66DD357D-1702-41A0-9D58-F5F119B4F20A}" sibTransId="{D9A6D2EB-F50E-4626-B297-7AB709D9FF33}"/>
    <dgm:cxn modelId="{F77AAD52-3B13-2543-9CB1-9956909866A7}" type="presParOf" srcId="{656C7711-97A5-4F42-95CD-D4FCF9907461}" destId="{BC1442C7-CA00-4A08-A368-1D65E754B44B}" srcOrd="0" destOrd="0" presId="urn:microsoft.com/office/officeart/2005/8/layout/vList5"/>
    <dgm:cxn modelId="{0877F5AC-5687-4142-9DE9-1D2A7910C731}" type="presParOf" srcId="{BC1442C7-CA00-4A08-A368-1D65E754B44B}" destId="{99F8EF45-1B5B-4025-A197-154005FE3D67}" srcOrd="0" destOrd="0" presId="urn:microsoft.com/office/officeart/2005/8/layout/vList5"/>
    <dgm:cxn modelId="{D59B4BE3-022E-B047-B185-12CC1F8067FA}" type="presParOf" srcId="{BC1442C7-CA00-4A08-A368-1D65E754B44B}" destId="{E3429FA7-26D1-450B-84CD-82E87DD30866}" srcOrd="1" destOrd="0" presId="urn:microsoft.com/office/officeart/2005/8/layout/vList5"/>
    <dgm:cxn modelId="{414F9179-44FD-884F-B973-10B743195A41}" type="presParOf" srcId="{656C7711-97A5-4F42-95CD-D4FCF9907461}" destId="{184DBF39-E8AC-4B09-B7B6-A647FA0A31AA}" srcOrd="1" destOrd="0" presId="urn:microsoft.com/office/officeart/2005/8/layout/vList5"/>
    <dgm:cxn modelId="{46725B06-17F7-664F-818F-1F57C886D28D}" type="presParOf" srcId="{656C7711-97A5-4F42-95CD-D4FCF9907461}" destId="{0FF82D11-A7E8-43FC-8A2F-FFC5F4DDF7E3}" srcOrd="2" destOrd="0" presId="urn:microsoft.com/office/officeart/2005/8/layout/vList5"/>
    <dgm:cxn modelId="{32A1CD30-2BBE-1049-8331-2F99B9832B10}" type="presParOf" srcId="{0FF82D11-A7E8-43FC-8A2F-FFC5F4DDF7E3}" destId="{383BA78E-70B4-4CD2-9A35-9203C052A2EE}" srcOrd="0" destOrd="0" presId="urn:microsoft.com/office/officeart/2005/8/layout/vList5"/>
    <dgm:cxn modelId="{A44E98EC-FDE2-4946-A19B-FAF8CB2D2A1F}" type="presParOf" srcId="{0FF82D11-A7E8-43FC-8A2F-FFC5F4DDF7E3}" destId="{9045C0C7-A2ED-480B-8B70-7F01EA280FCA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2FCB52-7271-4111-A577-B0690081212E}">
      <dsp:nvSpPr>
        <dsp:cNvPr id="0" name=""/>
        <dsp:cNvSpPr/>
      </dsp:nvSpPr>
      <dsp:spPr>
        <a:xfrm>
          <a:off x="0" y="515259"/>
          <a:ext cx="7518400" cy="831600"/>
        </a:xfrm>
        <a:prstGeom prst="rect">
          <a:avLst/>
        </a:prstGeom>
        <a:solidFill>
          <a:schemeClr val="bg2"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2BAE42-9E87-4064-916D-C0D499FDE2EF}">
      <dsp:nvSpPr>
        <dsp:cNvPr id="0" name=""/>
        <dsp:cNvSpPr/>
      </dsp:nvSpPr>
      <dsp:spPr>
        <a:xfrm>
          <a:off x="357931" y="28179"/>
          <a:ext cx="7158625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8924" tIns="0" rIns="198924" bIns="0" numCol="1" spcCol="1270" anchor="ctr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smtClean="0">
              <a:latin typeface="+mn-lt"/>
            </a:rPr>
            <a:t>CrownPeak Terminology</a:t>
          </a:r>
          <a:endParaRPr lang="en-US" sz="3300" kern="1200">
            <a:latin typeface="+mn-lt"/>
          </a:endParaRPr>
        </a:p>
      </dsp:txBody>
      <dsp:txXfrm>
        <a:off x="405486" y="75734"/>
        <a:ext cx="7063515" cy="879050"/>
      </dsp:txXfrm>
    </dsp:sp>
    <dsp:sp modelId="{8561C929-15FE-415A-BB3F-CE533A78CFF0}">
      <dsp:nvSpPr>
        <dsp:cNvPr id="0" name=""/>
        <dsp:cNvSpPr/>
      </dsp:nvSpPr>
      <dsp:spPr>
        <a:xfrm>
          <a:off x="0" y="2012140"/>
          <a:ext cx="7518400" cy="831600"/>
        </a:xfrm>
        <a:prstGeom prst="rect">
          <a:avLst/>
        </a:prstGeom>
        <a:solidFill>
          <a:schemeClr val="bg2"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3F9D77-D32E-4E65-8602-CFED855F42FA}">
      <dsp:nvSpPr>
        <dsp:cNvPr id="0" name=""/>
        <dsp:cNvSpPr/>
      </dsp:nvSpPr>
      <dsp:spPr>
        <a:xfrm>
          <a:off x="357931" y="1525059"/>
          <a:ext cx="7158625" cy="974160"/>
        </a:xfrm>
        <a:prstGeom prst="roundRect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8924" tIns="0" rIns="198924" bIns="0" numCol="1" spcCol="1270" anchor="ctr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smtClean="0">
              <a:latin typeface="+mn-lt"/>
            </a:rPr>
            <a:t>Publishing Terminology</a:t>
          </a:r>
          <a:endParaRPr lang="en-US" sz="3300" kern="1200">
            <a:latin typeface="+mn-lt"/>
          </a:endParaRPr>
        </a:p>
      </dsp:txBody>
      <dsp:txXfrm>
        <a:off x="405486" y="1572614"/>
        <a:ext cx="7063515" cy="879050"/>
      </dsp:txXfrm>
    </dsp:sp>
    <dsp:sp modelId="{025392F1-2BFE-42DD-8E8A-4F493145D5A7}">
      <dsp:nvSpPr>
        <dsp:cNvPr id="0" name=""/>
        <dsp:cNvSpPr/>
      </dsp:nvSpPr>
      <dsp:spPr>
        <a:xfrm>
          <a:off x="0" y="3509020"/>
          <a:ext cx="7518400" cy="831600"/>
        </a:xfrm>
        <a:prstGeom prst="rect">
          <a:avLst/>
        </a:prstGeom>
        <a:solidFill>
          <a:schemeClr val="bg2"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592475-17D6-43EB-81E9-1DD6AD44BE1E}">
      <dsp:nvSpPr>
        <dsp:cNvPr id="0" name=""/>
        <dsp:cNvSpPr/>
      </dsp:nvSpPr>
      <dsp:spPr>
        <a:xfrm>
          <a:off x="357931" y="3021940"/>
          <a:ext cx="7158625" cy="974160"/>
        </a:xfrm>
        <a:prstGeom prst="roundRect">
          <a:avLst/>
        </a:prstGeom>
        <a:solidFill>
          <a:srgbClr val="92D050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8924" tIns="0" rIns="198924" bIns="0" numCol="1" spcCol="1270" anchor="ctr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smtClean="0">
              <a:latin typeface="+mn-lt"/>
            </a:rPr>
            <a:t>Developer Terminology </a:t>
          </a:r>
          <a:endParaRPr lang="en-US" sz="3300" kern="1200">
            <a:latin typeface="+mn-lt"/>
          </a:endParaRPr>
        </a:p>
      </dsp:txBody>
      <dsp:txXfrm>
        <a:off x="405486" y="3069495"/>
        <a:ext cx="7063515" cy="87905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2755C6-1809-4663-A22F-C1DFB6134430}">
      <dsp:nvSpPr>
        <dsp:cNvPr id="0" name=""/>
        <dsp:cNvSpPr/>
      </dsp:nvSpPr>
      <dsp:spPr>
        <a:xfrm rot="5400000">
          <a:off x="6155339" y="-2105496"/>
          <a:ext cx="1119895" cy="5783802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smtClean="0">
              <a:solidFill>
                <a:schemeClr val="bg1"/>
              </a:solidFill>
              <a:latin typeface="+mn-lt"/>
            </a:rPr>
            <a:t>Main thing that you will do in the CMS</a:t>
          </a:r>
          <a:endParaRPr lang="en-US" sz="24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smtClean="0">
              <a:solidFill>
                <a:schemeClr val="bg1"/>
              </a:solidFill>
              <a:latin typeface="+mn-lt"/>
            </a:rPr>
            <a:t>Configuration, Content, or Page</a:t>
          </a:r>
          <a:endParaRPr lang="en-US" sz="2400" kern="1200">
            <a:solidFill>
              <a:schemeClr val="bg1"/>
            </a:solidFill>
            <a:latin typeface="+mn-lt"/>
          </a:endParaRPr>
        </a:p>
      </dsp:txBody>
      <dsp:txXfrm rot="-5400000">
        <a:off x="3823386" y="281126"/>
        <a:ext cx="5729133" cy="1010557"/>
      </dsp:txXfrm>
    </dsp:sp>
    <dsp:sp modelId="{D5969E9E-BDE7-4A28-A584-D90E8A4CA6B0}">
      <dsp:nvSpPr>
        <dsp:cNvPr id="0" name=""/>
        <dsp:cNvSpPr/>
      </dsp:nvSpPr>
      <dsp:spPr>
        <a:xfrm>
          <a:off x="56057" y="0"/>
          <a:ext cx="3767328" cy="1572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>
              <a:latin typeface="+mn-lt"/>
            </a:rPr>
            <a:t>Edit</a:t>
          </a:r>
          <a:endParaRPr lang="en-US" sz="3200" kern="1200">
            <a:latin typeface="+mn-lt"/>
          </a:endParaRPr>
        </a:p>
      </dsp:txBody>
      <dsp:txXfrm>
        <a:off x="132833" y="76776"/>
        <a:ext cx="3613776" cy="1419208"/>
      </dsp:txXfrm>
    </dsp:sp>
    <dsp:sp modelId="{8AC30CE4-A575-41E2-BAB9-D3EE8DC3AB96}">
      <dsp:nvSpPr>
        <dsp:cNvPr id="0" name=""/>
        <dsp:cNvSpPr/>
      </dsp:nvSpPr>
      <dsp:spPr>
        <a:xfrm rot="5400000">
          <a:off x="5744246" y="-295720"/>
          <a:ext cx="2631519" cy="6697472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smtClean="0">
              <a:solidFill>
                <a:schemeClr val="bg1"/>
              </a:solidFill>
              <a:latin typeface="+mn-lt"/>
            </a:rPr>
            <a:t>Every file or folder in CMS</a:t>
          </a:r>
          <a:endParaRPr lang="en-US" sz="24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smtClean="0">
              <a:solidFill>
                <a:schemeClr val="bg1"/>
              </a:solidFill>
              <a:latin typeface="+mn-lt"/>
            </a:rPr>
            <a:t>Each asset has an asset ID</a:t>
          </a:r>
          <a:endParaRPr lang="en-US" sz="24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smtClean="0">
              <a:solidFill>
                <a:schemeClr val="bg1"/>
              </a:solidFill>
              <a:latin typeface="+mn-lt"/>
            </a:rPr>
            <a:t>Two types of Asset:</a:t>
          </a:r>
          <a:endParaRPr lang="en-US" sz="2400" kern="1200">
            <a:solidFill>
              <a:schemeClr val="bg1"/>
            </a:solidFill>
            <a:latin typeface="+mn-lt"/>
          </a:endParaRPr>
        </a:p>
        <a:p>
          <a:pPr marL="457200" lvl="2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smtClean="0">
              <a:solidFill>
                <a:schemeClr val="bg1"/>
              </a:solidFill>
              <a:latin typeface="+mn-lt"/>
            </a:rPr>
            <a:t>Templated Asset</a:t>
          </a:r>
          <a:endParaRPr lang="en-US" sz="2400" kern="1200">
            <a:solidFill>
              <a:schemeClr val="bg1"/>
            </a:solidFill>
            <a:latin typeface="+mn-lt"/>
          </a:endParaRPr>
        </a:p>
        <a:p>
          <a:pPr marL="457200" lvl="2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smtClean="0">
              <a:solidFill>
                <a:schemeClr val="bg1"/>
              </a:solidFill>
              <a:latin typeface="+mn-lt"/>
            </a:rPr>
            <a:t>Digital Asset</a:t>
          </a:r>
          <a:endParaRPr lang="en-US" sz="2400" kern="1200">
            <a:solidFill>
              <a:schemeClr val="bg1"/>
            </a:solidFill>
            <a:latin typeface="+mn-lt"/>
          </a:endParaRPr>
        </a:p>
      </dsp:txBody>
      <dsp:txXfrm rot="-5400000">
        <a:off x="3711270" y="1865716"/>
        <a:ext cx="6569012" cy="2374599"/>
      </dsp:txXfrm>
    </dsp:sp>
    <dsp:sp modelId="{BCD314F2-D66E-4D6C-8D5C-238197859DE1}">
      <dsp:nvSpPr>
        <dsp:cNvPr id="0" name=""/>
        <dsp:cNvSpPr/>
      </dsp:nvSpPr>
      <dsp:spPr>
        <a:xfrm>
          <a:off x="56057" y="2316058"/>
          <a:ext cx="3655212" cy="1473914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>
              <a:latin typeface="+mn-lt"/>
            </a:rPr>
            <a:t>Asset</a:t>
          </a:r>
          <a:endParaRPr lang="en-US" sz="3200" kern="1200">
            <a:latin typeface="+mn-lt"/>
          </a:endParaRPr>
        </a:p>
      </dsp:txBody>
      <dsp:txXfrm>
        <a:off x="128008" y="2388009"/>
        <a:ext cx="3511310" cy="133001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2755C6-1809-4663-A22F-C1DFB6134430}">
      <dsp:nvSpPr>
        <dsp:cNvPr id="0" name=""/>
        <dsp:cNvSpPr/>
      </dsp:nvSpPr>
      <dsp:spPr>
        <a:xfrm rot="5400000">
          <a:off x="6094778" y="-2326048"/>
          <a:ext cx="1704855" cy="6805845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smtClean="0">
              <a:solidFill>
                <a:schemeClr val="bg1"/>
              </a:solidFill>
              <a:latin typeface="+mn-lt"/>
            </a:rPr>
            <a:t>Stored content</a:t>
          </a:r>
          <a:endParaRPr lang="en-US" sz="23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smtClean="0">
              <a:solidFill>
                <a:schemeClr val="bg1"/>
              </a:solidFill>
              <a:latin typeface="+mn-lt"/>
            </a:rPr>
            <a:t>Output controlled by Templates</a:t>
          </a:r>
          <a:endParaRPr lang="en-US" sz="23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smtClean="0">
              <a:solidFill>
                <a:schemeClr val="bg1"/>
              </a:solidFill>
              <a:latin typeface="+mn-lt"/>
            </a:rPr>
            <a:t>Can publish pages, widgets, or used for configuration</a:t>
          </a:r>
          <a:endParaRPr lang="en-US" sz="2300" kern="1200">
            <a:solidFill>
              <a:schemeClr val="bg1"/>
            </a:solidFill>
            <a:latin typeface="+mn-lt"/>
          </a:endParaRPr>
        </a:p>
      </dsp:txBody>
      <dsp:txXfrm rot="-5400000">
        <a:off x="3544283" y="307671"/>
        <a:ext cx="6722621" cy="1538407"/>
      </dsp:txXfrm>
    </dsp:sp>
    <dsp:sp modelId="{D5969E9E-BDE7-4A28-A584-D90E8A4CA6B0}">
      <dsp:nvSpPr>
        <dsp:cNvPr id="0" name=""/>
        <dsp:cNvSpPr/>
      </dsp:nvSpPr>
      <dsp:spPr>
        <a:xfrm>
          <a:off x="423923" y="10"/>
          <a:ext cx="2781710" cy="213106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>
              <a:latin typeface="+mj-lt"/>
            </a:rPr>
            <a:t>Templated Asset</a:t>
          </a:r>
          <a:endParaRPr lang="en-US" sz="3200" kern="1200">
            <a:latin typeface="+mj-lt"/>
          </a:endParaRPr>
        </a:p>
      </dsp:txBody>
      <dsp:txXfrm>
        <a:off x="527953" y="104040"/>
        <a:ext cx="2573650" cy="1923009"/>
      </dsp:txXfrm>
    </dsp:sp>
    <dsp:sp modelId="{8AC30CE4-A575-41E2-BAB9-D3EE8DC3AB96}">
      <dsp:nvSpPr>
        <dsp:cNvPr id="0" name=""/>
        <dsp:cNvSpPr/>
      </dsp:nvSpPr>
      <dsp:spPr>
        <a:xfrm rot="5400000">
          <a:off x="6217994" y="-179520"/>
          <a:ext cx="1704855" cy="6988037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smtClean="0">
              <a:solidFill>
                <a:schemeClr val="bg1"/>
              </a:solidFill>
              <a:latin typeface="+mn-lt"/>
            </a:rPr>
            <a:t>Binary Asset – PDF, Images, JS, CSS etc</a:t>
          </a:r>
          <a:endParaRPr lang="en-US" sz="23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smtClean="0">
              <a:solidFill>
                <a:schemeClr val="bg1"/>
              </a:solidFill>
              <a:latin typeface="+mn-lt"/>
            </a:rPr>
            <a:t>Usually stored in the /Assets/ directory</a:t>
          </a:r>
          <a:endParaRPr lang="en-US" sz="2300" kern="1200">
            <a:solidFill>
              <a:schemeClr val="bg1"/>
            </a:solidFill>
            <a:latin typeface="+mn-lt"/>
          </a:endParaRPr>
        </a:p>
      </dsp:txBody>
      <dsp:txXfrm rot="-5400000">
        <a:off x="3576403" y="2545295"/>
        <a:ext cx="6904813" cy="1538407"/>
      </dsp:txXfrm>
    </dsp:sp>
    <dsp:sp modelId="{BCD314F2-D66E-4D6C-8D5C-238197859DE1}">
      <dsp:nvSpPr>
        <dsp:cNvPr id="0" name=""/>
        <dsp:cNvSpPr/>
      </dsp:nvSpPr>
      <dsp:spPr>
        <a:xfrm>
          <a:off x="454549" y="2237676"/>
          <a:ext cx="2798248" cy="2131069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>
              <a:latin typeface="+mj-lt"/>
            </a:rPr>
            <a:t>Digital Asset</a:t>
          </a:r>
          <a:endParaRPr lang="en-US" sz="3200" kern="1200">
            <a:latin typeface="+mj-lt"/>
          </a:endParaRPr>
        </a:p>
      </dsp:txBody>
      <dsp:txXfrm>
        <a:off x="558579" y="2341706"/>
        <a:ext cx="2590188" cy="192300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2755C6-1809-4663-A22F-C1DFB6134430}">
      <dsp:nvSpPr>
        <dsp:cNvPr id="0" name=""/>
        <dsp:cNvSpPr/>
      </dsp:nvSpPr>
      <dsp:spPr>
        <a:xfrm rot="5400000">
          <a:off x="5635088" y="-1288965"/>
          <a:ext cx="3491626" cy="6946730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smtClean="0">
              <a:solidFill>
                <a:schemeClr val="bg1"/>
              </a:solidFill>
              <a:latin typeface="+mn-lt"/>
            </a:rPr>
            <a:t>Blueprint for content creation, which defines the option in New Menu</a:t>
          </a:r>
          <a:br>
            <a:rPr lang="en-US" sz="2000" kern="1200" smtClean="0">
              <a:solidFill>
                <a:schemeClr val="bg1"/>
              </a:solidFill>
              <a:latin typeface="+mn-lt"/>
            </a:rPr>
          </a:br>
          <a:endParaRPr lang="en-US" sz="20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smtClean="0">
              <a:solidFill>
                <a:schemeClr val="bg1"/>
              </a:solidFill>
              <a:latin typeface="+mn-lt"/>
            </a:rPr>
            <a:t>Configured by Developers </a:t>
          </a:r>
          <a:r>
            <a:rPr lang="mr-IN" sz="2000" kern="1200" smtClean="0">
              <a:solidFill>
                <a:schemeClr val="bg1"/>
              </a:solidFill>
              <a:latin typeface="+mn-lt"/>
            </a:rPr>
            <a:t>–</a:t>
          </a:r>
          <a:r>
            <a:rPr lang="en-US" sz="2000" kern="1200" smtClean="0">
              <a:solidFill>
                <a:schemeClr val="bg1"/>
              </a:solidFill>
              <a:latin typeface="+mn-lt"/>
            </a:rPr>
            <a:t> Simplifying content creation for authors</a:t>
          </a:r>
          <a:br>
            <a:rPr lang="en-US" sz="2000" kern="1200" smtClean="0">
              <a:solidFill>
                <a:schemeClr val="bg1"/>
              </a:solidFill>
              <a:latin typeface="+mn-lt"/>
            </a:rPr>
          </a:br>
          <a:endParaRPr lang="en-US" sz="20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smtClean="0">
              <a:solidFill>
                <a:schemeClr val="bg1"/>
              </a:solidFill>
              <a:latin typeface="+mn-lt"/>
            </a:rPr>
            <a:t>Controls template, access, and workflow for new content</a:t>
          </a:r>
          <a:endParaRPr lang="en-US" sz="20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smtClean="0">
              <a:solidFill>
                <a:schemeClr val="bg1"/>
              </a:solidFill>
              <a:latin typeface="+mn-lt"/>
            </a:rPr>
            <a:t>Models can provide blueprints for a single page, multiple pages or an entire site structure</a:t>
          </a:r>
          <a:endParaRPr lang="en-US" sz="2000" kern="1200">
            <a:solidFill>
              <a:schemeClr val="bg1"/>
            </a:solidFill>
            <a:latin typeface="+mn-lt"/>
          </a:endParaRPr>
        </a:p>
      </dsp:txBody>
      <dsp:txXfrm rot="-5400000">
        <a:off x="3907537" y="609033"/>
        <a:ext cx="6776283" cy="3150732"/>
      </dsp:txXfrm>
    </dsp:sp>
    <dsp:sp modelId="{D5969E9E-BDE7-4A28-A584-D90E8A4CA6B0}">
      <dsp:nvSpPr>
        <dsp:cNvPr id="0" name=""/>
        <dsp:cNvSpPr/>
      </dsp:nvSpPr>
      <dsp:spPr>
        <a:xfrm>
          <a:off x="0" y="789124"/>
          <a:ext cx="3907536" cy="27905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>
              <a:latin typeface="+mn-lt"/>
            </a:rPr>
            <a:t>Model</a:t>
          </a:r>
          <a:endParaRPr lang="en-US" sz="3200" kern="1200">
            <a:latin typeface="+mn-lt"/>
          </a:endParaRPr>
        </a:p>
      </dsp:txBody>
      <dsp:txXfrm>
        <a:off x="136223" y="925347"/>
        <a:ext cx="3635090" cy="251810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2755C6-1809-4663-A22F-C1DFB6134430}">
      <dsp:nvSpPr>
        <dsp:cNvPr id="0" name=""/>
        <dsp:cNvSpPr/>
      </dsp:nvSpPr>
      <dsp:spPr>
        <a:xfrm rot="5400000">
          <a:off x="6841070" y="-2657039"/>
          <a:ext cx="2116137" cy="7434483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smtClean="0">
              <a:solidFill>
                <a:schemeClr val="bg1"/>
              </a:solidFill>
              <a:latin typeface="+mn-lt"/>
            </a:rPr>
            <a:t>When you create content, you begin in the Draft state </a:t>
          </a:r>
          <a:endParaRPr lang="en-US" sz="20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smtClean="0">
              <a:solidFill>
                <a:schemeClr val="bg1"/>
              </a:solidFill>
              <a:latin typeface="+mn-lt"/>
            </a:rPr>
            <a:t>Not been published to any environment</a:t>
          </a:r>
          <a:endParaRPr lang="en-US" sz="2000" kern="1200">
            <a:solidFill>
              <a:schemeClr val="bg1"/>
            </a:solidFill>
            <a:latin typeface="+mn-lt"/>
          </a:endParaRPr>
        </a:p>
      </dsp:txBody>
      <dsp:txXfrm rot="-5400000">
        <a:off x="4181898" y="105434"/>
        <a:ext cx="7331182" cy="1909535"/>
      </dsp:txXfrm>
    </dsp:sp>
    <dsp:sp modelId="{D5969E9E-BDE7-4A28-A584-D90E8A4CA6B0}">
      <dsp:nvSpPr>
        <dsp:cNvPr id="0" name=""/>
        <dsp:cNvSpPr/>
      </dsp:nvSpPr>
      <dsp:spPr>
        <a:xfrm>
          <a:off x="0" y="380961"/>
          <a:ext cx="4181897" cy="1408051"/>
        </a:xfrm>
        <a:prstGeom prst="roundRect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>
              <a:latin typeface="+mn-lt"/>
            </a:rPr>
            <a:t>Draft</a:t>
          </a:r>
          <a:endParaRPr lang="en-US" sz="3200" kern="1200">
            <a:latin typeface="+mn-lt"/>
          </a:endParaRPr>
        </a:p>
      </dsp:txBody>
      <dsp:txXfrm>
        <a:off x="68735" y="449696"/>
        <a:ext cx="4044427" cy="1270581"/>
      </dsp:txXfrm>
    </dsp:sp>
    <dsp:sp modelId="{8AC30CE4-A575-41E2-BAB9-D3EE8DC3AB96}">
      <dsp:nvSpPr>
        <dsp:cNvPr id="0" name=""/>
        <dsp:cNvSpPr/>
      </dsp:nvSpPr>
      <dsp:spPr>
        <a:xfrm rot="5400000">
          <a:off x="6841070" y="-408643"/>
          <a:ext cx="2116137" cy="7434483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smtClean="0">
              <a:solidFill>
                <a:schemeClr val="bg1"/>
              </a:solidFill>
              <a:latin typeface="+mn-lt"/>
            </a:rPr>
            <a:t>Defines the state and commands available to users to move content to a published environment</a:t>
          </a:r>
          <a:endParaRPr lang="en-US" sz="20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smtClean="0">
              <a:solidFill>
                <a:schemeClr val="bg1"/>
              </a:solidFill>
              <a:latin typeface="+mn-lt"/>
            </a:rPr>
            <a:t>Fully customizable to business requirements</a:t>
          </a:r>
          <a:endParaRPr lang="en-US" sz="2000" kern="1200">
            <a:solidFill>
              <a:schemeClr val="bg1"/>
            </a:solidFill>
            <a:latin typeface="+mn-lt"/>
          </a:endParaRPr>
        </a:p>
      </dsp:txBody>
      <dsp:txXfrm rot="-5400000">
        <a:off x="4181898" y="2353830"/>
        <a:ext cx="7331182" cy="1909535"/>
      </dsp:txXfrm>
    </dsp:sp>
    <dsp:sp modelId="{BCD314F2-D66E-4D6C-8D5C-238197859DE1}">
      <dsp:nvSpPr>
        <dsp:cNvPr id="0" name=""/>
        <dsp:cNvSpPr/>
      </dsp:nvSpPr>
      <dsp:spPr>
        <a:xfrm>
          <a:off x="0" y="2479931"/>
          <a:ext cx="4181897" cy="1657332"/>
        </a:xfrm>
        <a:prstGeom prst="roundRect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>
              <a:latin typeface="+mn-lt"/>
            </a:rPr>
            <a:t>Workflow</a:t>
          </a:r>
          <a:endParaRPr lang="en-US" sz="3200" kern="1200">
            <a:latin typeface="+mn-lt"/>
          </a:endParaRPr>
        </a:p>
      </dsp:txBody>
      <dsp:txXfrm>
        <a:off x="80904" y="2560835"/>
        <a:ext cx="4020089" cy="149552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2755C6-1809-4663-A22F-C1DFB6134430}">
      <dsp:nvSpPr>
        <dsp:cNvPr id="0" name=""/>
        <dsp:cNvSpPr/>
      </dsp:nvSpPr>
      <dsp:spPr>
        <a:xfrm rot="5400000">
          <a:off x="6057995" y="-2288534"/>
          <a:ext cx="2116137" cy="6697472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smtClean="0">
              <a:solidFill>
                <a:schemeClr val="bg1"/>
              </a:solidFill>
              <a:latin typeface="+mn-lt"/>
            </a:rPr>
            <a:t>Interconnectors between published assets in your instance</a:t>
          </a:r>
          <a:endParaRPr lang="en-US" sz="20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smtClean="0">
              <a:solidFill>
                <a:schemeClr val="bg1"/>
              </a:solidFill>
              <a:latin typeface="+mn-lt"/>
            </a:rPr>
            <a:t>Automatic &amp; manual dependencies exist</a:t>
          </a:r>
          <a:endParaRPr lang="en-US" sz="2000" kern="1200">
            <a:solidFill>
              <a:schemeClr val="bg1"/>
            </a:solidFill>
            <a:latin typeface="+mn-lt"/>
          </a:endParaRPr>
        </a:p>
      </dsp:txBody>
      <dsp:txXfrm rot="-5400000">
        <a:off x="3767328" y="105434"/>
        <a:ext cx="6594171" cy="1909535"/>
      </dsp:txXfrm>
    </dsp:sp>
    <dsp:sp modelId="{D5969E9E-BDE7-4A28-A584-D90E8A4CA6B0}">
      <dsp:nvSpPr>
        <dsp:cNvPr id="0" name=""/>
        <dsp:cNvSpPr/>
      </dsp:nvSpPr>
      <dsp:spPr>
        <a:xfrm>
          <a:off x="0" y="476346"/>
          <a:ext cx="3767328" cy="1167711"/>
        </a:xfrm>
        <a:prstGeom prst="roundRect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>
              <a:latin typeface="+mn-lt"/>
            </a:rPr>
            <a:t>Dependency</a:t>
          </a:r>
          <a:endParaRPr lang="en-US" sz="3200" kern="1200">
            <a:latin typeface="+mn-lt"/>
          </a:endParaRPr>
        </a:p>
      </dsp:txBody>
      <dsp:txXfrm>
        <a:off x="57003" y="533349"/>
        <a:ext cx="3653322" cy="1053705"/>
      </dsp:txXfrm>
    </dsp:sp>
    <dsp:sp modelId="{8AC30CE4-A575-41E2-BAB9-D3EE8DC3AB96}">
      <dsp:nvSpPr>
        <dsp:cNvPr id="0" name=""/>
        <dsp:cNvSpPr/>
      </dsp:nvSpPr>
      <dsp:spPr>
        <a:xfrm rot="5400000">
          <a:off x="6057995" y="-40137"/>
          <a:ext cx="2116137" cy="6697472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smtClean="0">
              <a:solidFill>
                <a:schemeClr val="bg1"/>
              </a:solidFill>
              <a:latin typeface="+mn-lt"/>
            </a:rPr>
            <a:t>Create another instance of a piece of content or asset and have it in multiple states</a:t>
          </a:r>
          <a:endParaRPr lang="en-US" sz="20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smtClean="0">
              <a:solidFill>
                <a:schemeClr val="bg1"/>
              </a:solidFill>
              <a:latin typeface="+mn-lt"/>
            </a:rPr>
            <a:t>Used when editing content to enable content authorization through workflow</a:t>
          </a:r>
          <a:endParaRPr lang="en-US" sz="20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>
            <a:solidFill>
              <a:schemeClr val="bg1"/>
            </a:solidFill>
            <a:latin typeface="+mn-lt"/>
          </a:endParaRPr>
        </a:p>
      </dsp:txBody>
      <dsp:txXfrm rot="-5400000">
        <a:off x="3767328" y="2353832"/>
        <a:ext cx="6594171" cy="1909535"/>
      </dsp:txXfrm>
    </dsp:sp>
    <dsp:sp modelId="{BCD314F2-D66E-4D6C-8D5C-238197859DE1}">
      <dsp:nvSpPr>
        <dsp:cNvPr id="0" name=""/>
        <dsp:cNvSpPr/>
      </dsp:nvSpPr>
      <dsp:spPr>
        <a:xfrm>
          <a:off x="0" y="2647635"/>
          <a:ext cx="3767328" cy="1321924"/>
        </a:xfrm>
        <a:prstGeom prst="roundRect">
          <a:avLst/>
        </a:prstGeom>
        <a:solidFill>
          <a:schemeClr val="accent2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>
              <a:latin typeface="+mn-lt"/>
            </a:rPr>
            <a:t>Branching</a:t>
          </a:r>
          <a:endParaRPr lang="en-US" sz="3200" kern="1200">
            <a:latin typeface="+mn-lt"/>
          </a:endParaRPr>
        </a:p>
      </dsp:txBody>
      <dsp:txXfrm>
        <a:off x="64531" y="2712166"/>
        <a:ext cx="3638266" cy="119286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4AB8BA-EA57-4004-999E-DBC87D8AB9F0}">
      <dsp:nvSpPr>
        <dsp:cNvPr id="0" name=""/>
        <dsp:cNvSpPr/>
      </dsp:nvSpPr>
      <dsp:spPr>
        <a:xfrm rot="5400000">
          <a:off x="6057995" y="-2288534"/>
          <a:ext cx="2116137" cy="6697472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smtClean="0">
              <a:solidFill>
                <a:schemeClr val="bg1"/>
              </a:solidFill>
              <a:effectLst/>
              <a:latin typeface="+mn-lt"/>
              <a:ea typeface="+mn-ea"/>
              <a:cs typeface="+mn-cs"/>
            </a:rPr>
            <a:t>Interface to manage 3</a:t>
          </a:r>
          <a:r>
            <a:rPr lang="en-US" sz="2800" kern="1200" baseline="30000" smtClean="0">
              <a:solidFill>
                <a:schemeClr val="bg1"/>
              </a:solidFill>
              <a:effectLst/>
              <a:latin typeface="+mn-lt"/>
              <a:ea typeface="+mn-ea"/>
              <a:cs typeface="+mn-cs"/>
            </a:rPr>
            <a:t>rd</a:t>
          </a:r>
          <a:r>
            <a:rPr lang="en-US" sz="2800" kern="1200" smtClean="0">
              <a:solidFill>
                <a:schemeClr val="bg1"/>
              </a:solidFill>
              <a:effectLst/>
              <a:latin typeface="+mn-lt"/>
              <a:ea typeface="+mn-ea"/>
              <a:cs typeface="+mn-cs"/>
            </a:rPr>
            <a:t> party integrations and authentication information</a:t>
          </a:r>
          <a:endParaRPr lang="en-US" sz="2800" kern="1200">
            <a:solidFill>
              <a:schemeClr val="bg1"/>
            </a:solidFill>
            <a:latin typeface="+mn-lt"/>
          </a:endParaRP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baseline="0" smtClean="0">
              <a:solidFill>
                <a:schemeClr val="bg1"/>
              </a:solidFill>
              <a:effectLst/>
              <a:latin typeface="+mn-lt"/>
              <a:ea typeface="+mn-ea"/>
              <a:cs typeface="+mn-cs"/>
            </a:rPr>
            <a:t>Settings &gt; Configuration &gt; Connectors to add accounts </a:t>
          </a:r>
          <a:endParaRPr lang="en-US" sz="2800" kern="1200">
            <a:solidFill>
              <a:schemeClr val="bg1"/>
            </a:solidFill>
            <a:latin typeface="+mn-lt"/>
          </a:endParaRPr>
        </a:p>
      </dsp:txBody>
      <dsp:txXfrm rot="-5400000">
        <a:off x="3767328" y="105434"/>
        <a:ext cx="6594171" cy="1909535"/>
      </dsp:txXfrm>
    </dsp:sp>
    <dsp:sp modelId="{80331947-AA3C-4A92-90BA-36B9BED8210D}">
      <dsp:nvSpPr>
        <dsp:cNvPr id="0" name=""/>
        <dsp:cNvSpPr/>
      </dsp:nvSpPr>
      <dsp:spPr>
        <a:xfrm>
          <a:off x="0" y="526710"/>
          <a:ext cx="3767328" cy="1066982"/>
        </a:xfrm>
        <a:prstGeom prst="roundRect">
          <a:avLst/>
        </a:prstGeom>
        <a:solidFill>
          <a:srgbClr val="92D050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40" tIns="102870" rIns="205740" bIns="102870" numCol="1" spcCol="1270" anchor="ctr" anchorCtr="0">
          <a:noAutofit/>
        </a:bodyPr>
        <a:lstStyle/>
        <a:p>
          <a:pPr lvl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400" kern="1200" dirty="0" smtClean="0">
              <a:latin typeface="+mn-lt"/>
            </a:rPr>
            <a:t>Connector</a:t>
          </a:r>
          <a:endParaRPr lang="en-US" sz="5400" kern="1200" dirty="0">
            <a:latin typeface="+mn-lt"/>
          </a:endParaRPr>
        </a:p>
      </dsp:txBody>
      <dsp:txXfrm>
        <a:off x="52086" y="578796"/>
        <a:ext cx="3663156" cy="962810"/>
      </dsp:txXfrm>
    </dsp:sp>
    <dsp:sp modelId="{6CF662D3-6F2E-41D0-9003-4CDE8AC39B8D}">
      <dsp:nvSpPr>
        <dsp:cNvPr id="0" name=""/>
        <dsp:cNvSpPr/>
      </dsp:nvSpPr>
      <dsp:spPr>
        <a:xfrm rot="5400000">
          <a:off x="6057995" y="-40137"/>
          <a:ext cx="2116137" cy="6697472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smtClean="0">
              <a:solidFill>
                <a:schemeClr val="bg1"/>
              </a:solidFill>
              <a:latin typeface="+mn-lt"/>
            </a:rPr>
            <a:t>Collection of files that manage input, output, and publishing conditions for templated assets</a:t>
          </a:r>
          <a:endParaRPr lang="en-US" sz="2800" kern="1200">
            <a:solidFill>
              <a:schemeClr val="bg1"/>
            </a:solidFill>
            <a:latin typeface="+mn-lt"/>
          </a:endParaRPr>
        </a:p>
      </dsp:txBody>
      <dsp:txXfrm rot="-5400000">
        <a:off x="3767328" y="2353832"/>
        <a:ext cx="6594171" cy="1909535"/>
      </dsp:txXfrm>
    </dsp:sp>
    <dsp:sp modelId="{1AA7CE0A-A684-41CD-87D4-508D91B05294}">
      <dsp:nvSpPr>
        <dsp:cNvPr id="0" name=""/>
        <dsp:cNvSpPr/>
      </dsp:nvSpPr>
      <dsp:spPr>
        <a:xfrm>
          <a:off x="0" y="2775106"/>
          <a:ext cx="3767328" cy="1066982"/>
        </a:xfrm>
        <a:prstGeom prst="roundRect">
          <a:avLst/>
        </a:prstGeom>
        <a:solidFill>
          <a:srgbClr val="92D050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40" tIns="102870" rIns="205740" bIns="102870" numCol="1" spcCol="1270" anchor="ctr" anchorCtr="0">
          <a:noAutofit/>
        </a:bodyPr>
        <a:lstStyle/>
        <a:p>
          <a:pPr lvl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400" kern="1200" smtClean="0">
              <a:latin typeface="+mn-lt"/>
            </a:rPr>
            <a:t>Template</a:t>
          </a:r>
          <a:endParaRPr lang="en-US" sz="5400" kern="1200">
            <a:latin typeface="+mn-lt"/>
          </a:endParaRPr>
        </a:p>
      </dsp:txBody>
      <dsp:txXfrm>
        <a:off x="52086" y="2827192"/>
        <a:ext cx="3663156" cy="96281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429FA7-26D1-450B-84CD-82E87DD30866}">
      <dsp:nvSpPr>
        <dsp:cNvPr id="0" name=""/>
        <dsp:cNvSpPr/>
      </dsp:nvSpPr>
      <dsp:spPr>
        <a:xfrm rot="5400000">
          <a:off x="6057995" y="-2288534"/>
          <a:ext cx="2116137" cy="6697472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smtClean="0">
              <a:solidFill>
                <a:schemeClr val="bg1"/>
              </a:solidFill>
              <a:latin typeface="+mn-lt"/>
            </a:rPr>
            <a:t>Folder type for a site</a:t>
          </a:r>
          <a:endParaRPr lang="en-US" sz="27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smtClean="0">
              <a:solidFill>
                <a:schemeClr val="bg1"/>
              </a:solidFill>
              <a:latin typeface="+mn-lt"/>
            </a:rPr>
            <a:t>For example: www.domainname.co.uk</a:t>
          </a:r>
          <a:endParaRPr lang="en-US" sz="2700" kern="1200">
            <a:solidFill>
              <a:schemeClr val="bg1"/>
            </a:solidFill>
            <a:latin typeface="+mn-lt"/>
          </a:endParaRPr>
        </a:p>
      </dsp:txBody>
      <dsp:txXfrm rot="-5400000">
        <a:off x="3767328" y="105434"/>
        <a:ext cx="6594171" cy="1909535"/>
      </dsp:txXfrm>
    </dsp:sp>
    <dsp:sp modelId="{99F8EF45-1B5B-4025-A197-154005FE3D67}">
      <dsp:nvSpPr>
        <dsp:cNvPr id="0" name=""/>
        <dsp:cNvSpPr/>
      </dsp:nvSpPr>
      <dsp:spPr>
        <a:xfrm>
          <a:off x="0" y="526710"/>
          <a:ext cx="3767328" cy="1066982"/>
        </a:xfrm>
        <a:prstGeom prst="roundRect">
          <a:avLst/>
        </a:prstGeom>
        <a:solidFill>
          <a:srgbClr val="92D050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40" tIns="102870" rIns="205740" bIns="102870" numCol="1" spcCol="1270" anchor="ctr" anchorCtr="0">
          <a:noAutofit/>
        </a:bodyPr>
        <a:lstStyle/>
        <a:p>
          <a:pPr lvl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400" kern="1200" smtClean="0">
              <a:latin typeface="+mn-lt"/>
            </a:rPr>
            <a:t>Site</a:t>
          </a:r>
          <a:endParaRPr lang="en-US" sz="5400" kern="1200">
            <a:latin typeface="+mn-lt"/>
          </a:endParaRPr>
        </a:p>
      </dsp:txBody>
      <dsp:txXfrm>
        <a:off x="52086" y="578796"/>
        <a:ext cx="3663156" cy="962810"/>
      </dsp:txXfrm>
    </dsp:sp>
    <dsp:sp modelId="{9045C0C7-A2ED-480B-8B70-7F01EA280FCA}">
      <dsp:nvSpPr>
        <dsp:cNvPr id="0" name=""/>
        <dsp:cNvSpPr/>
      </dsp:nvSpPr>
      <dsp:spPr>
        <a:xfrm rot="5400000">
          <a:off x="6057995" y="-40137"/>
          <a:ext cx="2116137" cy="6697472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smtClean="0">
              <a:solidFill>
                <a:schemeClr val="bg1"/>
              </a:solidFill>
              <a:latin typeface="+mn-lt"/>
            </a:rPr>
            <a:t>Folder type for templates, library, workflow and filename configuration for a site</a:t>
          </a:r>
          <a:endParaRPr lang="en-US" sz="2700" kern="1200">
            <a:solidFill>
              <a:schemeClr val="bg1"/>
            </a:solidFill>
            <a:latin typeface="+mn-lt"/>
          </a:endParaRP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smtClean="0">
              <a:solidFill>
                <a:schemeClr val="bg1"/>
              </a:solidFill>
              <a:latin typeface="+mn-lt"/>
            </a:rPr>
            <a:t>A Project can form the basis of one or multiple Sites</a:t>
          </a:r>
          <a:endParaRPr lang="en-US" sz="2700" kern="1200">
            <a:solidFill>
              <a:schemeClr val="bg1"/>
            </a:solidFill>
            <a:latin typeface="+mn-lt"/>
          </a:endParaRPr>
        </a:p>
      </dsp:txBody>
      <dsp:txXfrm rot="-5400000">
        <a:off x="3767328" y="2353832"/>
        <a:ext cx="6594171" cy="1909535"/>
      </dsp:txXfrm>
    </dsp:sp>
    <dsp:sp modelId="{383BA78E-70B4-4CD2-9A35-9203C052A2EE}">
      <dsp:nvSpPr>
        <dsp:cNvPr id="0" name=""/>
        <dsp:cNvSpPr/>
      </dsp:nvSpPr>
      <dsp:spPr>
        <a:xfrm>
          <a:off x="0" y="2775106"/>
          <a:ext cx="3767328" cy="1066982"/>
        </a:xfrm>
        <a:prstGeom prst="roundRect">
          <a:avLst/>
        </a:prstGeom>
        <a:solidFill>
          <a:srgbClr val="92D050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40" tIns="102870" rIns="205740" bIns="102870" numCol="1" spcCol="1270" anchor="ctr" anchorCtr="0">
          <a:noAutofit/>
        </a:bodyPr>
        <a:lstStyle/>
        <a:p>
          <a:pPr lvl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400" kern="1200" dirty="0" smtClean="0">
              <a:latin typeface="+mn-lt"/>
            </a:rPr>
            <a:t>Project</a:t>
          </a:r>
          <a:endParaRPr lang="en-US" sz="5400" kern="1200" dirty="0">
            <a:latin typeface="+mn-lt"/>
          </a:endParaRPr>
        </a:p>
      </dsp:txBody>
      <dsp:txXfrm>
        <a:off x="52086" y="2827192"/>
        <a:ext cx="3663156" cy="9628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9BF3E1-6EB0-49B2-BE21-95FD6D65287C}" type="datetimeFigureOut">
              <a:rPr lang="en-US" smtClean="0"/>
              <a:t>1/24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348709-76BA-47F5-BE96-E7D79077C6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4880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F5E8DC-D403-4C3E-9D7C-A5781DFE6FBD}" type="datetimeFigureOut">
              <a:rPr lang="en-US" smtClean="0"/>
              <a:t>1/24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5492B2-0604-42AD-A7EE-8F45FD6F85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81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5492B2-0604-42AD-A7EE-8F45FD6F85E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1960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3233" indent="-183233">
              <a:spcBef>
                <a:spcPct val="75000"/>
              </a:spcBef>
              <a:buFont typeface="Arial" panose="020B0604020202020204" pitchFamily="34" charset="0"/>
              <a:buChar char="•"/>
              <a:defRPr/>
            </a:pPr>
            <a:r>
              <a:rPr lang="en-US" smtClean="0"/>
              <a:t>We’ll begin with </a:t>
            </a:r>
            <a:r>
              <a:rPr lang="en-US" b="1" smtClean="0"/>
              <a:t>Draft</a:t>
            </a:r>
          </a:p>
          <a:p>
            <a:pPr marL="183233" indent="-183233">
              <a:spcBef>
                <a:spcPct val="75000"/>
              </a:spcBef>
              <a:buFont typeface="Arial" panose="020B0604020202020204" pitchFamily="34" charset="0"/>
              <a:buChar char="•"/>
              <a:defRPr/>
            </a:pPr>
            <a:r>
              <a:rPr lang="en-US" smtClean="0"/>
              <a:t>When you create content, you begin in the Draft state </a:t>
            </a:r>
          </a:p>
          <a:p>
            <a:pPr marL="183233" indent="-183233">
              <a:spcBef>
                <a:spcPct val="75000"/>
              </a:spcBef>
              <a:buFont typeface="Arial" panose="020B0604020202020204" pitchFamily="34" charset="0"/>
              <a:buChar char="•"/>
              <a:defRPr/>
            </a:pPr>
            <a:r>
              <a:rPr lang="en-US" smtClean="0"/>
              <a:t>This content is only visible within the CrownPeak environment </a:t>
            </a:r>
          </a:p>
          <a:p>
            <a:pPr marL="183233" indent="-183233">
              <a:spcBef>
                <a:spcPct val="75000"/>
              </a:spcBef>
              <a:buFont typeface="Arial" panose="020B0604020202020204" pitchFamily="34" charset="0"/>
              <a:buChar char="•"/>
              <a:defRPr/>
            </a:pPr>
            <a:r>
              <a:rPr lang="en-US" smtClean="0"/>
              <a:t>Every user can modify content in draft</a:t>
            </a:r>
          </a:p>
          <a:p>
            <a:pPr marL="759313" lvl="1" indent="-292044">
              <a:buFont typeface="Arial" panose="020B0604020202020204" pitchFamily="34" charset="0"/>
              <a:buChar char="•"/>
              <a:defRPr/>
            </a:pPr>
            <a:endParaRPr lang="en-US" b="1" smtClean="0"/>
          </a:p>
          <a:p>
            <a:pPr>
              <a:defRPr/>
            </a:pPr>
            <a:r>
              <a:rPr lang="en-US" b="1" i="1" smtClean="0"/>
              <a:t>Note to Facilitator: There is NO SHOW for Draft</a:t>
            </a:r>
          </a:p>
          <a:p>
            <a:pPr marL="0" lvl="1">
              <a:spcBef>
                <a:spcPct val="75000"/>
              </a:spcBef>
              <a:defRPr/>
            </a:pPr>
            <a:endParaRPr lang="en-US" smtClean="0"/>
          </a:p>
          <a:p>
            <a:pPr marL="183233" indent="-183233">
              <a:spcBef>
                <a:spcPct val="75000"/>
              </a:spcBef>
              <a:buFont typeface="Arial" panose="020B0604020202020204" pitchFamily="34" charset="0"/>
              <a:buChar char="•"/>
              <a:defRPr/>
            </a:pPr>
            <a:r>
              <a:rPr lang="en-US" b="1" smtClean="0"/>
              <a:t>Workflow</a:t>
            </a:r>
          </a:p>
          <a:p>
            <a:pPr marL="183233" indent="-183233">
              <a:spcBef>
                <a:spcPct val="75000"/>
              </a:spcBef>
              <a:buFont typeface="Arial" panose="020B0604020202020204" pitchFamily="34" charset="0"/>
              <a:buChar char="•"/>
              <a:defRPr/>
            </a:pPr>
            <a:r>
              <a:rPr lang="en-US" smtClean="0"/>
              <a:t>Workflow defines the states and commands available to users to move content from creation to publishing in what we call the content life cycle.</a:t>
            </a:r>
          </a:p>
          <a:p>
            <a:pPr marL="183233" indent="-183233">
              <a:spcBef>
                <a:spcPct val="75000"/>
              </a:spcBef>
              <a:buFont typeface="Arial" panose="020B0604020202020204" pitchFamily="34" charset="0"/>
              <a:buChar char="•"/>
              <a:defRPr/>
            </a:pPr>
            <a:r>
              <a:rPr lang="en-US" smtClean="0"/>
              <a:t>The commands visible to you are based on the group you belong to</a:t>
            </a:r>
          </a:p>
          <a:p>
            <a:pPr marL="183233" indent="-183233">
              <a:spcBef>
                <a:spcPct val="75000"/>
              </a:spcBef>
              <a:buFont typeface="Arial" panose="020B0604020202020204" pitchFamily="34" charset="0"/>
              <a:buChar char="•"/>
              <a:defRPr/>
            </a:pPr>
            <a:r>
              <a:rPr lang="en-US" smtClean="0"/>
              <a:t>Workflow can only be configured by Admins and Developers </a:t>
            </a:r>
          </a:p>
          <a:p>
            <a:pPr marL="759313" lvl="1" indent="-292044">
              <a:buFont typeface="Arial" panose="020B0604020202020204" pitchFamily="34" charset="0"/>
              <a:buChar char="•"/>
              <a:defRPr/>
            </a:pPr>
            <a:endParaRPr lang="en-US" smtClean="0"/>
          </a:p>
          <a:p>
            <a:pPr>
              <a:defRPr/>
            </a:pPr>
            <a:r>
              <a:rPr lang="en-US" b="1" smtClean="0"/>
              <a:t>SHOW</a:t>
            </a:r>
            <a:r>
              <a:rPr lang="en-US" smtClean="0"/>
              <a:t>  </a:t>
            </a:r>
            <a:r>
              <a:rPr lang="en-US" b="1" smtClean="0"/>
              <a:t>WORKFLOW</a:t>
            </a:r>
          </a:p>
          <a:p>
            <a:r>
              <a:rPr lang="en-US" smtClean="0"/>
              <a:t> 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b="1" smtClean="0"/>
              <a:t>Click</a:t>
            </a:r>
            <a:r>
              <a:rPr lang="en-US" smtClean="0"/>
              <a:t> List View (bottom of page)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b="1" smtClean="0"/>
              <a:t>Left Click to Select </a:t>
            </a:r>
            <a:r>
              <a:rPr lang="en-US" smtClean="0"/>
              <a:t>page that was just created (Page </a:t>
            </a:r>
            <a:r>
              <a:rPr lang="en-US" err="1" smtClean="0"/>
              <a:t>File.Name.Date</a:t>
            </a:r>
            <a:r>
              <a:rPr lang="en-US" smtClean="0"/>
              <a:t>)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b="1" smtClean="0"/>
              <a:t>Right Click </a:t>
            </a:r>
            <a:r>
              <a:rPr lang="en-US" smtClean="0"/>
              <a:t>to Workflow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smtClean="0"/>
              <a:t>The first state on the list is the current state, which is Draft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smtClean="0"/>
              <a:t>You can see the other workflow options 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smtClean="0"/>
              <a:t>Stage is to Deploy to a  Stage Server 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smtClean="0"/>
              <a:t>Dev is to send to server where developers are testing code changes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smtClean="0"/>
              <a:t>Pending is to send for approval</a:t>
            </a:r>
            <a:br>
              <a:rPr lang="en-US" smtClean="0"/>
            </a:br>
            <a:endParaRPr lang="en-US" smtClean="0"/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b="1" smtClean="0"/>
              <a:t>Choose</a:t>
            </a:r>
            <a:r>
              <a:rPr lang="en-US" smtClean="0"/>
              <a:t> </a:t>
            </a:r>
            <a:r>
              <a:rPr lang="en-US" b="1" smtClean="0"/>
              <a:t>Stage</a:t>
            </a:r>
            <a:r>
              <a:rPr lang="en-US" smtClean="0"/>
              <a:t> - Deploy to Stage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smtClean="0"/>
              <a:t>On the Page File you will see a small publishing icon appears indicating this is in the publishing queue 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smtClean="0"/>
              <a:t>At the bottom right of the screen, you will see a publishing monitor (far left) (Can click even when spinning)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b="1" smtClean="0"/>
              <a:t>Click Publishing Monitor </a:t>
            </a:r>
            <a:r>
              <a:rPr lang="en-US" smtClean="0"/>
              <a:t>(looks like a stack of books)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smtClean="0"/>
              <a:t>This shows the publishing details of content being published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b="1" smtClean="0"/>
              <a:t>Click X </a:t>
            </a:r>
            <a:r>
              <a:rPr lang="en-US" smtClean="0"/>
              <a:t>to</a:t>
            </a:r>
            <a:r>
              <a:rPr lang="en-US" baseline="0" smtClean="0"/>
              <a:t> close</a:t>
            </a:r>
            <a:r>
              <a:rPr lang="en-US" smtClean="0"/>
              <a:t>  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smtClean="0"/>
              <a:t>Click</a:t>
            </a:r>
            <a:r>
              <a:rPr lang="en-US" baseline="0" smtClean="0"/>
              <a:t> on Page (to select)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baseline="0" smtClean="0"/>
              <a:t>Right-Click and Choose Workflow</a:t>
            </a:r>
            <a:endParaRPr lang="en-US" smtClean="0"/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smtClean="0"/>
              <a:t>Options – Deploy to live is available now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b="1" smtClean="0"/>
              <a:t>Publish Live</a:t>
            </a:r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b="0" smtClean="0"/>
              <a:t>You can see the status is now live</a:t>
            </a:r>
            <a:r>
              <a:rPr lang="en-US" b="0" baseline="0" smtClean="0"/>
              <a:t> is green </a:t>
            </a:r>
            <a:endParaRPr lang="en-US" b="0" smtClean="0"/>
          </a:p>
          <a:p>
            <a:pPr marL="183233" indent="-183233">
              <a:buFont typeface="Arial" panose="020B0604020202020204" pitchFamily="34" charset="0"/>
              <a:buChar char="•"/>
            </a:pPr>
            <a:endParaRPr lang="en-US" smtClean="0"/>
          </a:p>
          <a:p>
            <a:pPr marL="183233" indent="-183233">
              <a:buFont typeface="Arial" panose="020B0604020202020204" pitchFamily="34" charset="0"/>
              <a:buChar char="•"/>
            </a:pPr>
            <a:r>
              <a:rPr lang="en-US" b="1" smtClean="0"/>
              <a:t>Transition: </a:t>
            </a:r>
            <a:r>
              <a:rPr lang="en-US" smtClean="0"/>
              <a:t>There are a few more publishing terms to lear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F15A1-762E-3242-BF3A-E1B71DAA629F}" type="slidenum">
              <a:rPr lang="en-US" smtClean="0"/>
              <a:t>12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5EB2B216-3D70-4469-9614-E5BDCC61A849}" type="datetime1">
              <a:rPr lang="en-US" smtClean="0"/>
              <a:t>1/24/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5759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F15A1-762E-3242-BF3A-E1B71DAA629F}" type="slidenum">
              <a:rPr lang="en-US" smtClean="0"/>
              <a:t>13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45B8CE12-A205-4A92-9E1A-C097C6424D56}" type="datetime1">
              <a:rPr lang="en-US" smtClean="0"/>
              <a:t>1/24/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05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F15A1-762E-3242-BF3A-E1B71DAA629F}" type="slidenum">
              <a:rPr lang="en-US" smtClean="0"/>
              <a:t>14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11B5EE6-7C51-4D58-B993-673278B493E3}" type="datetime1">
              <a:rPr lang="en-US" smtClean="0"/>
              <a:t>1/24/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374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="1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F15A1-762E-3242-BF3A-E1B71DAA629F}" type="slidenum">
              <a:rPr lang="en-US" smtClean="0"/>
              <a:t>15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11B5EE6-7C51-4D58-B993-673278B493E3}" type="datetime1">
              <a:rPr lang="en-US" smtClean="0"/>
              <a:t>1/24/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6701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47" indent="-171447">
              <a:buFont typeface="Arial" panose="020B0604020202020204" pitchFamily="34" charset="0"/>
              <a:buChar char="•"/>
            </a:pPr>
            <a:r>
              <a:rPr lang="en-US">
                <a:ea typeface="ＭＳ Ｐゴシック" pitchFamily="34" charset="-128"/>
              </a:rPr>
              <a:t>This</a:t>
            </a:r>
            <a:r>
              <a:rPr lang="en-US" baseline="0">
                <a:ea typeface="ＭＳ Ｐゴシック" pitchFamily="34" charset="-128"/>
              </a:rPr>
              <a:t> is </a:t>
            </a:r>
            <a:r>
              <a:rPr lang="en-US">
                <a:ea typeface="ＭＳ Ｐゴシック" pitchFamily="34" charset="-128"/>
              </a:rPr>
              <a:t>an overview of the CMS</a:t>
            </a:r>
          </a:p>
          <a:p>
            <a:pPr marL="163955" indent="-163955">
              <a:buFont typeface="Arial" panose="020B0604020202020204" pitchFamily="34" charset="0"/>
              <a:buChar char="•"/>
            </a:pPr>
            <a:r>
              <a:rPr lang="en-US">
                <a:ea typeface="ＭＳ Ｐゴシック" pitchFamily="34" charset="-128"/>
              </a:rPr>
              <a:t>I’ll</a:t>
            </a:r>
            <a:r>
              <a:rPr lang="en-US" baseline="0">
                <a:ea typeface="ＭＳ Ｐゴシック" pitchFamily="34" charset="-128"/>
              </a:rPr>
              <a:t> explain the major areas on the page</a:t>
            </a:r>
            <a:endParaRPr lang="en-US">
              <a:ea typeface="ＭＳ Ｐゴシック" pitchFamily="34" charset="-128"/>
            </a:endParaRPr>
          </a:p>
          <a:p>
            <a:endParaRPr lang="en-US" baseline="0">
              <a:ea typeface="ＭＳ Ｐゴシック" pitchFamily="34" charset="-128"/>
            </a:endParaRPr>
          </a:p>
          <a:p>
            <a:pPr marL="163955" indent="-163955">
              <a:buFont typeface="Arial" panose="020B0604020202020204" pitchFamily="34" charset="0"/>
              <a:buChar char="•"/>
            </a:pPr>
            <a:r>
              <a:rPr lang="en-US" b="1" baseline="0">
                <a:ea typeface="ＭＳ Ｐゴシック" pitchFamily="34" charset="-128"/>
              </a:rPr>
              <a:t>(Click) </a:t>
            </a:r>
            <a:r>
              <a:rPr lang="en-US" baseline="0">
                <a:ea typeface="ＭＳ Ｐゴシック" pitchFamily="34" charset="-128"/>
              </a:rPr>
              <a:t>The </a:t>
            </a:r>
            <a:r>
              <a:rPr lang="en-US" b="1" baseline="0" smtClean="0">
                <a:ea typeface="ＭＳ Ｐゴシック" pitchFamily="34" charset="-128"/>
              </a:rPr>
              <a:t>Menu </a:t>
            </a:r>
            <a:r>
              <a:rPr lang="en-US" baseline="0">
                <a:ea typeface="ＭＳ Ｐゴシック" pitchFamily="34" charset="-128"/>
              </a:rPr>
              <a:t>consists of:</a:t>
            </a:r>
          </a:p>
          <a:p>
            <a:pPr marL="621146" lvl="1" indent="-163955">
              <a:buFont typeface="Arial" panose="020B0604020202020204" pitchFamily="34" charset="0"/>
              <a:buChar char="•"/>
            </a:pPr>
            <a:r>
              <a:rPr lang="en-US" baseline="0" smtClean="0">
                <a:ea typeface="ＭＳ Ｐゴシック" pitchFamily="34" charset="-128"/>
              </a:rPr>
              <a:t>File Menu, which allows you to create or open content</a:t>
            </a:r>
          </a:p>
          <a:p>
            <a:pPr marL="621146" lvl="1" indent="-163955">
              <a:buFont typeface="Arial" panose="020B0604020202020204" pitchFamily="34" charset="0"/>
              <a:buChar char="•"/>
            </a:pPr>
            <a:r>
              <a:rPr lang="en-US" baseline="0" smtClean="0">
                <a:ea typeface="ＭＳ Ｐゴシック" pitchFamily="34" charset="-128"/>
              </a:rPr>
              <a:t>Edit Menu, which allows users to edit, branch and access other </a:t>
            </a:r>
            <a:r>
              <a:rPr lang="en-US" baseline="0">
                <a:ea typeface="ＭＳ Ｐゴシック" pitchFamily="34" charset="-128"/>
              </a:rPr>
              <a:t>page level </a:t>
            </a:r>
            <a:r>
              <a:rPr lang="en-US" baseline="0" smtClean="0">
                <a:ea typeface="ＭＳ Ｐゴシック" pitchFamily="34" charset="-128"/>
              </a:rPr>
              <a:t>commands</a:t>
            </a:r>
          </a:p>
          <a:p>
            <a:pPr marL="621146" lvl="1" indent="-163955">
              <a:buFont typeface="Arial" panose="020B0604020202020204" pitchFamily="34" charset="0"/>
              <a:buChar char="•"/>
            </a:pPr>
            <a:r>
              <a:rPr lang="en-US" baseline="0" smtClean="0">
                <a:ea typeface="ＭＳ Ｐゴシック" pitchFamily="34" charset="-128"/>
              </a:rPr>
              <a:t>View Menu, which allows you to customize the display and switch the view of the current asset</a:t>
            </a:r>
            <a:endParaRPr lang="en-US" baseline="0">
              <a:ea typeface="ＭＳ Ｐゴシック" pitchFamily="34" charset="-128"/>
            </a:endParaRPr>
          </a:p>
          <a:p>
            <a:pPr marL="621146" lvl="1" indent="-163955">
              <a:buFont typeface="Arial" panose="020B0604020202020204" pitchFamily="34" charset="0"/>
              <a:buChar char="•"/>
            </a:pPr>
            <a:endParaRPr lang="en-US" baseline="0">
              <a:ea typeface="ＭＳ Ｐゴシック" pitchFamily="34" charset="-128"/>
            </a:endParaRPr>
          </a:p>
          <a:p>
            <a:pPr marL="163955" indent="-163955">
              <a:buFont typeface="Arial" panose="020B0604020202020204" pitchFamily="34" charset="0"/>
              <a:buChar char="•"/>
            </a:pPr>
            <a:r>
              <a:rPr lang="en-US" b="1" baseline="0">
                <a:ea typeface="ＭＳ Ｐゴシック" pitchFamily="34" charset="-128"/>
              </a:rPr>
              <a:t>(Click) </a:t>
            </a:r>
            <a:r>
              <a:rPr lang="en-US">
                <a:ea typeface="ＭＳ Ｐゴシック" pitchFamily="34" charset="-128"/>
              </a:rPr>
              <a:t>Up at the top </a:t>
            </a:r>
            <a:r>
              <a:rPr lang="en-US" smtClean="0">
                <a:ea typeface="ＭＳ Ｐゴシック" pitchFamily="34" charset="-128"/>
              </a:rPr>
              <a:t>right are </a:t>
            </a:r>
            <a:r>
              <a:rPr lang="en-US">
                <a:ea typeface="ＭＳ Ｐゴシック" pitchFamily="34" charset="-128"/>
              </a:rPr>
              <a:t>the </a:t>
            </a:r>
            <a:r>
              <a:rPr lang="en-US" b="1" smtClean="0">
                <a:ea typeface="ＭＳ Ｐゴシック" pitchFamily="34" charset="-128"/>
              </a:rPr>
              <a:t>Content Controls</a:t>
            </a:r>
            <a:r>
              <a:rPr lang="en-US" b="0" baseline="0" smtClean="0">
                <a:ea typeface="ＭＳ Ｐゴシック" pitchFamily="34" charset="-128"/>
              </a:rPr>
              <a:t>, </a:t>
            </a:r>
            <a:r>
              <a:rPr lang="en-US" b="0" baseline="0">
                <a:ea typeface="ＭＳ Ｐゴシック" pitchFamily="34" charset="-128"/>
              </a:rPr>
              <a:t>which </a:t>
            </a:r>
            <a:r>
              <a:rPr lang="en-US" baseline="0" smtClean="0">
                <a:ea typeface="ＭＳ Ｐゴシック" pitchFamily="34" charset="-128"/>
              </a:rPr>
              <a:t>let you change the view of the current asset, save and use workflow</a:t>
            </a:r>
            <a:endParaRPr lang="en-US" baseline="0">
              <a:ea typeface="ＭＳ Ｐゴシック" pitchFamily="34" charset="-128"/>
            </a:endParaRPr>
          </a:p>
          <a:p>
            <a:pPr marL="163955" indent="-163955">
              <a:buFont typeface="Arial" panose="020B0604020202020204" pitchFamily="34" charset="0"/>
              <a:buChar char="•"/>
            </a:pPr>
            <a:endParaRPr lang="en-US" baseline="0">
              <a:ea typeface="ＭＳ Ｐゴシック" pitchFamily="34" charset="-128"/>
            </a:endParaRPr>
          </a:p>
          <a:p>
            <a:pPr marL="163955" indent="-163955" defTabSz="914381" fontAlgn="base">
              <a:spcBef>
                <a:spcPct val="3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b="1" baseline="0">
                <a:ea typeface="ＭＳ Ｐゴシック" pitchFamily="34" charset="-128"/>
              </a:rPr>
              <a:t>(Click) Breadcrumbs</a:t>
            </a:r>
            <a:r>
              <a:rPr lang="en-US" baseline="0">
                <a:ea typeface="ＭＳ Ｐゴシック" pitchFamily="34" charset="-128"/>
              </a:rPr>
              <a:t> show you the path details and </a:t>
            </a:r>
            <a:r>
              <a:rPr lang="en-US" baseline="0" smtClean="0">
                <a:ea typeface="ＭＳ Ｐゴシック" pitchFamily="34" charset="-128"/>
              </a:rPr>
              <a:t>can </a:t>
            </a:r>
            <a:r>
              <a:rPr lang="en-US" baseline="0">
                <a:ea typeface="ＭＳ Ｐゴシック" pitchFamily="34" charset="-128"/>
              </a:rPr>
              <a:t>be used for navigation.  The drop down will also </a:t>
            </a:r>
            <a:r>
              <a:rPr lang="en-US" baseline="0" smtClean="0">
                <a:ea typeface="ＭＳ Ｐゴシック" pitchFamily="34" charset="-128"/>
              </a:rPr>
              <a:t>let you do a quick search of CMS content</a:t>
            </a:r>
            <a:r>
              <a:rPr lang="en-US" baseline="0">
                <a:ea typeface="ＭＳ Ｐゴシック" pitchFamily="34" charset="-128"/>
              </a:rPr>
              <a:t/>
            </a:r>
            <a:br>
              <a:rPr lang="en-US" baseline="0">
                <a:ea typeface="ＭＳ Ｐゴシック" pitchFamily="34" charset="-128"/>
              </a:rPr>
            </a:br>
            <a:endParaRPr lang="en-US" baseline="0">
              <a:ea typeface="ＭＳ Ｐゴシック" pitchFamily="34" charset="-128"/>
            </a:endParaRPr>
          </a:p>
          <a:p>
            <a:pPr marL="163955" indent="-163955">
              <a:buFont typeface="Arial" panose="020B0604020202020204" pitchFamily="34" charset="0"/>
              <a:buChar char="•"/>
            </a:pPr>
            <a:r>
              <a:rPr lang="en-US" b="1" baseline="0">
                <a:ea typeface="ＭＳ Ｐゴシック" pitchFamily="34" charset="-128"/>
              </a:rPr>
              <a:t>(Click) </a:t>
            </a:r>
            <a:r>
              <a:rPr lang="en-US" baseline="0">
                <a:ea typeface="ＭＳ Ｐゴシック" pitchFamily="34" charset="-128"/>
              </a:rPr>
              <a:t>The </a:t>
            </a:r>
            <a:r>
              <a:rPr lang="en-US" b="1" baseline="0" smtClean="0">
                <a:ea typeface="ＭＳ Ｐゴシック" pitchFamily="34" charset="-128"/>
              </a:rPr>
              <a:t>Info Panel </a:t>
            </a:r>
            <a:r>
              <a:rPr lang="en-US" baseline="0">
                <a:ea typeface="ＭＳ Ｐゴシック" pitchFamily="34" charset="-128"/>
              </a:rPr>
              <a:t>is </a:t>
            </a:r>
            <a:r>
              <a:rPr lang="en-US" baseline="0" smtClean="0">
                <a:ea typeface="ＭＳ Ｐゴシック" pitchFamily="34" charset="-128"/>
              </a:rPr>
              <a:t>on </a:t>
            </a:r>
            <a:r>
              <a:rPr lang="en-US" baseline="0">
                <a:ea typeface="ＭＳ Ｐゴシック" pitchFamily="34" charset="-128"/>
              </a:rPr>
              <a:t>the right,  which gives users access to information </a:t>
            </a:r>
            <a:r>
              <a:rPr lang="en-US" baseline="0" smtClean="0">
                <a:ea typeface="ＭＳ Ｐゴシック" pitchFamily="34" charset="-128"/>
              </a:rPr>
              <a:t>about the current asset</a:t>
            </a:r>
            <a:r>
              <a:rPr lang="en-US" baseline="0">
                <a:ea typeface="ＭＳ Ｐゴシック" pitchFamily="34" charset="-128"/>
              </a:rPr>
              <a:t/>
            </a:r>
            <a:br>
              <a:rPr lang="en-US" baseline="0">
                <a:ea typeface="ＭＳ Ｐゴシック" pitchFamily="34" charset="-128"/>
              </a:rPr>
            </a:br>
            <a:endParaRPr lang="en-US" baseline="0">
              <a:ea typeface="ＭＳ Ｐゴシック" pitchFamily="34" charset="-128"/>
            </a:endParaRPr>
          </a:p>
          <a:p>
            <a:pPr marL="163955" indent="-163955">
              <a:buFont typeface="Arial" panose="020B0604020202020204" pitchFamily="34" charset="0"/>
              <a:buChar char="•"/>
            </a:pPr>
            <a:r>
              <a:rPr lang="en-US" b="1" baseline="0">
                <a:ea typeface="ＭＳ Ｐゴシック" pitchFamily="34" charset="-128"/>
              </a:rPr>
              <a:t>(Click) </a:t>
            </a:r>
            <a:r>
              <a:rPr lang="en-US" b="0" baseline="0" smtClean="0">
                <a:ea typeface="ＭＳ Ｐゴシック" pitchFamily="34" charset="-128"/>
              </a:rPr>
              <a:t>The</a:t>
            </a:r>
            <a:r>
              <a:rPr lang="en-US" b="1" baseline="0" smtClean="0">
                <a:ea typeface="ＭＳ Ｐゴシック" pitchFamily="34" charset="-128"/>
              </a:rPr>
              <a:t> File View </a:t>
            </a:r>
            <a:r>
              <a:rPr lang="en-US" baseline="0" smtClean="0">
                <a:ea typeface="ＭＳ Ｐゴシック" pitchFamily="34" charset="-128"/>
              </a:rPr>
              <a:t>is on the left and gives access to all of the assets within your CMS</a:t>
            </a:r>
            <a:endParaRPr lang="en-US" baseline="0">
              <a:ea typeface="ＭＳ Ｐゴシック" pitchFamily="34" charset="-128"/>
            </a:endParaRPr>
          </a:p>
          <a:p>
            <a:pPr marL="163955" indent="-163955">
              <a:buFont typeface="Arial" panose="020B0604020202020204" pitchFamily="34" charset="0"/>
              <a:buChar char="•"/>
            </a:pPr>
            <a:endParaRPr lang="en-US" baseline="0">
              <a:ea typeface="ＭＳ Ｐゴシック" pitchFamily="34" charset="-128"/>
            </a:endParaRPr>
          </a:p>
          <a:p>
            <a:pPr marL="163955" indent="-163955">
              <a:buFont typeface="Arial" panose="020B0604020202020204" pitchFamily="34" charset="0"/>
              <a:buChar char="•"/>
            </a:pPr>
            <a:r>
              <a:rPr lang="en-US" b="1" baseline="0" smtClean="0">
                <a:ea typeface="ＭＳ Ｐゴシック" pitchFamily="34" charset="-128"/>
              </a:rPr>
              <a:t>(</a:t>
            </a:r>
            <a:r>
              <a:rPr lang="en-US" b="1" baseline="0">
                <a:ea typeface="ＭＳ Ｐゴシック" pitchFamily="34" charset="-128"/>
              </a:rPr>
              <a:t>Click) </a:t>
            </a:r>
            <a:r>
              <a:rPr lang="en-US" baseline="0">
                <a:ea typeface="ＭＳ Ｐゴシック" pitchFamily="34" charset="-128"/>
              </a:rPr>
              <a:t>Then, on </a:t>
            </a:r>
            <a:r>
              <a:rPr lang="en-US" baseline="0" smtClean="0">
                <a:ea typeface="ＭＳ Ｐゴシック" pitchFamily="34" charset="-128"/>
              </a:rPr>
              <a:t>the far </a:t>
            </a:r>
            <a:r>
              <a:rPr lang="en-US" baseline="0">
                <a:ea typeface="ＭＳ Ｐゴシック" pitchFamily="34" charset="-128"/>
              </a:rPr>
              <a:t>left are </a:t>
            </a:r>
            <a:r>
              <a:rPr lang="en-US" b="1" baseline="0">
                <a:ea typeface="ＭＳ Ｐゴシック" pitchFamily="34" charset="-128"/>
              </a:rPr>
              <a:t>Sections </a:t>
            </a:r>
            <a:r>
              <a:rPr lang="en-US" baseline="0" smtClean="0">
                <a:ea typeface="ＭＳ Ｐゴシック" pitchFamily="34" charset="-128"/>
              </a:rPr>
              <a:t>buttons</a:t>
            </a:r>
            <a:r>
              <a:rPr lang="en-US" baseline="0">
                <a:ea typeface="ＭＳ Ｐゴシック" pitchFamily="34" charset="-128"/>
              </a:rPr>
              <a:t>: </a:t>
            </a:r>
            <a:r>
              <a:rPr lang="en-US" baseline="0" smtClean="0">
                <a:ea typeface="ＭＳ Ｐゴシック" pitchFamily="34" charset="-128"/>
              </a:rPr>
              <a:t>content</a:t>
            </a:r>
            <a:r>
              <a:rPr lang="en-US" baseline="0">
                <a:ea typeface="ＭＳ Ｐゴシック" pitchFamily="34" charset="-128"/>
              </a:rPr>
              <a:t>, reports, settings, </a:t>
            </a:r>
            <a:r>
              <a:rPr lang="en-US" baseline="0" smtClean="0">
                <a:ea typeface="ＭＳ Ｐゴシック" pitchFamily="34" charset="-128"/>
              </a:rPr>
              <a:t>DQM and applications</a:t>
            </a:r>
          </a:p>
          <a:p>
            <a:pPr marL="163955" indent="-163955">
              <a:buFont typeface="Arial" panose="020B0604020202020204" pitchFamily="34" charset="0"/>
              <a:buChar char="•"/>
            </a:pPr>
            <a:endParaRPr lang="en-US" baseline="0" smtClean="0">
              <a:ea typeface="ＭＳ Ｐゴシック" pitchFamily="34" charset="-128"/>
            </a:endParaRPr>
          </a:p>
          <a:p>
            <a:pPr marL="163955" indent="-163955">
              <a:buFont typeface="Arial" panose="020B0604020202020204" pitchFamily="34" charset="0"/>
              <a:buChar char="•"/>
            </a:pPr>
            <a:r>
              <a:rPr lang="en-US" b="1" baseline="0" smtClean="0">
                <a:ea typeface="ＭＳ Ｐゴシック" pitchFamily="34" charset="-128"/>
              </a:rPr>
              <a:t>(Click)</a:t>
            </a:r>
            <a:r>
              <a:rPr lang="en-US" baseline="0" smtClean="0">
                <a:ea typeface="ＭＳ Ｐゴシック" pitchFamily="34" charset="-128"/>
              </a:rPr>
              <a:t> Finally at the very top-right, there are the </a:t>
            </a:r>
            <a:r>
              <a:rPr lang="en-US" b="1" baseline="0" smtClean="0">
                <a:ea typeface="ＭＳ Ｐゴシック" pitchFamily="34" charset="-128"/>
              </a:rPr>
              <a:t>Notification </a:t>
            </a:r>
            <a:r>
              <a:rPr lang="en-US" baseline="0" smtClean="0">
                <a:ea typeface="ＭＳ Ｐゴシック" pitchFamily="34" charset="-128"/>
              </a:rPr>
              <a:t>buttons, showing system messages, publishing and also profile</a:t>
            </a:r>
            <a:endParaRPr lang="en-US" baseline="0">
              <a:ea typeface="ＭＳ Ｐゴシック" pitchFamily="34" charset="-128"/>
            </a:endParaRPr>
          </a:p>
          <a:p>
            <a:endParaRPr lang="en-US" baseline="0">
              <a:ea typeface="ＭＳ Ｐゴシック" pitchFamily="34" charset="-128"/>
            </a:endParaRPr>
          </a:p>
          <a:p>
            <a:pPr marL="171447" indent="-171447">
              <a:buFont typeface="Arial" panose="020B0604020202020204" pitchFamily="34" charset="0"/>
              <a:buChar char="•"/>
            </a:pPr>
            <a:r>
              <a:rPr lang="en-US" b="1" baseline="0">
                <a:ea typeface="ＭＳ Ｐゴシック" pitchFamily="34" charset="-128"/>
              </a:rPr>
              <a:t>Transition: </a:t>
            </a:r>
            <a:r>
              <a:rPr lang="en-US" baseline="0">
                <a:ea typeface="ＭＳ Ｐゴシック" pitchFamily="34" charset="-128"/>
              </a:rPr>
              <a:t>Before we begin learning more about the CMS, there is some terminology that is important for you to learn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A060D0-76E6-42C4-9DE7-947D6686507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0932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defTabSz="914400">
              <a:defRPr/>
            </a:pPr>
            <a:fld id="{78AD5F55-567B-498E-AD1B-954DBF63FF14}" type="datetime1">
              <a:rPr lang="en-US" sz="1800" kern="0" smtClean="0">
                <a:solidFill>
                  <a:sysClr val="windowText" lastClr="000000"/>
                </a:solidFill>
              </a:rPr>
              <a:pPr defTabSz="914400">
                <a:defRPr/>
              </a:pPr>
              <a:t>1/24/18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>
              <a:defRPr/>
            </a:pPr>
            <a:fld id="{3D7F15A1-762E-3242-BF3A-E1B71DAA629F}" type="slidenum">
              <a:rPr lang="en-US" sz="1800" kern="0" smtClean="0">
                <a:solidFill>
                  <a:sysClr val="windowText" lastClr="000000"/>
                </a:solidFill>
              </a:rPr>
              <a:pPr defTabSz="914400">
                <a:defRPr/>
              </a:pPr>
              <a:t>18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7294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defTabSz="914400">
              <a:defRPr/>
            </a:pPr>
            <a:fld id="{78AD5F55-567B-498E-AD1B-954DBF63FF14}" type="datetime1">
              <a:rPr lang="en-US" sz="1800" kern="0" smtClean="0">
                <a:solidFill>
                  <a:sysClr val="windowText" lastClr="000000"/>
                </a:solidFill>
              </a:rPr>
              <a:pPr defTabSz="914400">
                <a:defRPr/>
              </a:pPr>
              <a:t>1/24/18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>
              <a:defRPr/>
            </a:pPr>
            <a:fld id="{3D7F15A1-762E-3242-BF3A-E1B71DAA629F}" type="slidenum">
              <a:rPr lang="en-US" sz="1800" kern="0" smtClean="0">
                <a:solidFill>
                  <a:sysClr val="windowText" lastClr="000000"/>
                </a:solidFill>
              </a:rPr>
              <a:pPr defTabSz="914400">
                <a:defRPr/>
              </a:pPr>
              <a:t>19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32175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>
                <a:latin typeface="Arial" charset="0"/>
                <a:ea typeface="ＭＳ Ｐゴシック" pitchFamily="34" charset="-128"/>
              </a:rPr>
              <a:t/>
            </a:r>
            <a:br>
              <a:rPr lang="en-US">
                <a:latin typeface="Arial" charset="0"/>
                <a:ea typeface="ＭＳ Ｐゴシック" pitchFamily="34" charset="-128"/>
              </a:rPr>
            </a:br>
            <a:endParaRPr lang="en-US"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746983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>
                <a:latin typeface="Arial" pitchFamily="34" charset="0"/>
                <a:ea typeface="ＭＳ Ｐゴシック" pitchFamily="34" charset="-128"/>
              </a:rPr>
              <a:t>So that is the most basic model you can create…some other common types</a:t>
            </a:r>
          </a:p>
        </p:txBody>
      </p:sp>
    </p:spTree>
    <p:extLst>
      <p:ext uri="{BB962C8B-B14F-4D97-AF65-F5344CB8AC3E}">
        <p14:creationId xmlns:p14="http://schemas.microsoft.com/office/powerpoint/2010/main" val="83439341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5089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baseline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5492B2-0604-42AD-A7EE-8F45FD6F85E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2528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743635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AD5F55-567B-498E-AD1B-954DBF63FF14}" type="datetime1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4/1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7F15A1-762E-3242-BF3A-E1B71DAA629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946333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baseline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5492B2-0604-42AD-A7EE-8F45FD6F85E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5327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baseline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5492B2-0604-42AD-A7EE-8F45FD6F85E7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9042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baseline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5492B2-0604-42AD-A7EE-8F45FD6F85E7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4592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F15A1-762E-3242-BF3A-E1B71DAA629F}" type="slidenum">
              <a:rPr lang="en-US" smtClean="0"/>
              <a:t>8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9203AEDD-6131-4D3E-A332-3C82B9CC07B5}" type="datetime1">
              <a:rPr lang="en-US" smtClean="0"/>
              <a:t>1/24/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3681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F15A1-762E-3242-BF3A-E1B71DAA629F}" type="slidenum">
              <a:rPr lang="en-US" smtClean="0"/>
              <a:t>9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B18D3700-9093-4ACF-9D44-A35B9ADA910E}" type="datetime1">
              <a:rPr lang="en-US" smtClean="0"/>
              <a:t>1/24/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7415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smtClean="0">
              <a:solidFill>
                <a:srgbClr val="C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F15A1-762E-3242-BF3A-E1B71DAA629F}" type="slidenum">
              <a:rPr lang="en-US" smtClean="0"/>
              <a:t>10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014260C2-2452-4C58-B5DD-8B896AFB4BB4}" type="datetime1">
              <a:rPr lang="en-US" smtClean="0"/>
              <a:t>1/24/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7647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3233" indent="-183233">
              <a:buFont typeface="Arial" panose="020B0604020202020204" pitchFamily="34" charset="0"/>
              <a:buChar char="•"/>
            </a:pPr>
            <a:endParaRPr lang="en-US" smtClean="0">
              <a:solidFill>
                <a:srgbClr val="C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F15A1-762E-3242-BF3A-E1B71DAA629F}" type="slidenum">
              <a:rPr lang="en-US" smtClean="0"/>
              <a:t>11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5BA8CF53-EC0A-4AA0-AF00-9DA5EE349D7F}" type="datetime1">
              <a:rPr lang="en-US" smtClean="0"/>
              <a:t>1/24/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030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2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jpeg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2.png"/></Relationships>
</file>

<file path=ppt/slideLayouts/_rels/slideLayout3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.png"/><Relationship Id="rId3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4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4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Relationship Id="rId3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4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e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0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jpeg"/></Relationships>
</file>

<file path=ppt/slideLayouts/_rels/slideLayout58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jpe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4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4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Relationship Id="rId3" Type="http://schemas.openxmlformats.org/officeDocument/2006/relationships/image" Target="../media/image2.png"/></Relationships>
</file>

<file path=ppt/slideLayouts/_rels/slideLayout68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jpe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0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75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3.jpeg"/></Relationships>
</file>

<file path=ppt/slideLayouts/_rels/slideLayout76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3.jpe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4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4.pn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Relationship Id="rId3" Type="http://schemas.openxmlformats.org/officeDocument/2006/relationships/image" Target="../media/image2.png"/></Relationships>
</file>

<file path=ppt/slideLayouts/_rels/slideLayout86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3.jpe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creen w/ PS Graphi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68" y="2171"/>
            <a:ext cx="674995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+mn-lt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2"/>
            <a:ext cx="2148810" cy="406841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08391" y="4371033"/>
            <a:ext cx="9144000" cy="293957"/>
          </a:xfrm>
        </p:spPr>
        <p:txBody>
          <a:bodyPr>
            <a:normAutofit/>
          </a:bodyPr>
          <a:lstStyle>
            <a:lvl1pPr marL="0" indent="0" algn="r">
              <a:buNone/>
              <a:defRPr sz="1600" baseline="0">
                <a:solidFill>
                  <a:srgbClr val="00395A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Name of Presenter / Job Title / Date</a:t>
            </a:r>
          </a:p>
        </p:txBody>
      </p:sp>
    </p:spTree>
    <p:extLst>
      <p:ext uri="{BB962C8B-B14F-4D97-AF65-F5344CB8AC3E}">
        <p14:creationId xmlns:p14="http://schemas.microsoft.com/office/powerpoint/2010/main" val="8326338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creens Light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6" y="5895601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6" y="457196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946" y="703878"/>
            <a:ext cx="7986713" cy="4900329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>
            <a:off x="600075" y="5738436"/>
            <a:ext cx="10972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397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you Screen w/ PS Graphic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36" y="-12192"/>
            <a:ext cx="12240000" cy="68972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www.crownpeak.co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2"/>
            <a:ext cx="2148810" cy="40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83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you Screen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/>
          <p:nvPr userDrawn="1"/>
        </p:nvSpPr>
        <p:spPr>
          <a:xfrm>
            <a:off x="605" y="-14288"/>
            <a:ext cx="12191395" cy="6886576"/>
          </a:xfrm>
          <a:custGeom>
            <a:avLst/>
            <a:gdLst>
              <a:gd name="connsiteX0" fmla="*/ 0 w 12191395"/>
              <a:gd name="connsiteY0" fmla="*/ 0 h 6886576"/>
              <a:gd name="connsiteX1" fmla="*/ 12191395 w 12191395"/>
              <a:gd name="connsiteY1" fmla="*/ 0 h 6886576"/>
              <a:gd name="connsiteX2" fmla="*/ 12191395 w 12191395"/>
              <a:gd name="connsiteY2" fmla="*/ 6886576 h 6886576"/>
              <a:gd name="connsiteX3" fmla="*/ 0 w 12191395"/>
              <a:gd name="connsiteY3" fmla="*/ 6886576 h 6886576"/>
              <a:gd name="connsiteX4" fmla="*/ 0 w 12191395"/>
              <a:gd name="connsiteY4" fmla="*/ 0 h 6886576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12191395 w 12191395"/>
              <a:gd name="connsiteY2" fmla="*/ 6900863 h 6900863"/>
              <a:gd name="connsiteX3" fmla="*/ 0 w 12191395"/>
              <a:gd name="connsiteY3" fmla="*/ 6900863 h 6900863"/>
              <a:gd name="connsiteX4" fmla="*/ 0 w 12191395"/>
              <a:gd name="connsiteY4" fmla="*/ 14287 h 6900863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9900633 w 12191395"/>
              <a:gd name="connsiteY2" fmla="*/ 2871788 h 6900863"/>
              <a:gd name="connsiteX3" fmla="*/ 12191395 w 12191395"/>
              <a:gd name="connsiteY3" fmla="*/ 6900863 h 6900863"/>
              <a:gd name="connsiteX4" fmla="*/ 0 w 12191395"/>
              <a:gd name="connsiteY4" fmla="*/ 6900863 h 6900863"/>
              <a:gd name="connsiteX5" fmla="*/ 0 w 12191395"/>
              <a:gd name="connsiteY5" fmla="*/ 14287 h 6900863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12186633 w 12191395"/>
              <a:gd name="connsiteY2" fmla="*/ 2828926 h 6900863"/>
              <a:gd name="connsiteX3" fmla="*/ 12191395 w 12191395"/>
              <a:gd name="connsiteY3" fmla="*/ 6900863 h 6900863"/>
              <a:gd name="connsiteX4" fmla="*/ 0 w 12191395"/>
              <a:gd name="connsiteY4" fmla="*/ 6900863 h 6900863"/>
              <a:gd name="connsiteX5" fmla="*/ 0 w 12191395"/>
              <a:gd name="connsiteY5" fmla="*/ 14287 h 6900863"/>
              <a:gd name="connsiteX0" fmla="*/ 0 w 12191395"/>
              <a:gd name="connsiteY0" fmla="*/ 0 h 6886576"/>
              <a:gd name="connsiteX1" fmla="*/ 7505095 w 12191395"/>
              <a:gd name="connsiteY1" fmla="*/ 14288 h 6886576"/>
              <a:gd name="connsiteX2" fmla="*/ 12186633 w 12191395"/>
              <a:gd name="connsiteY2" fmla="*/ 2814639 h 6886576"/>
              <a:gd name="connsiteX3" fmla="*/ 12191395 w 12191395"/>
              <a:gd name="connsiteY3" fmla="*/ 6886576 h 6886576"/>
              <a:gd name="connsiteX4" fmla="*/ 0 w 12191395"/>
              <a:gd name="connsiteY4" fmla="*/ 6886576 h 6886576"/>
              <a:gd name="connsiteX5" fmla="*/ 0 w 12191395"/>
              <a:gd name="connsiteY5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1395" h="6886576">
                <a:moveTo>
                  <a:pt x="0" y="0"/>
                </a:moveTo>
                <a:lnTo>
                  <a:pt x="7505095" y="14288"/>
                </a:lnTo>
                <a:lnTo>
                  <a:pt x="12186633" y="2814639"/>
                </a:lnTo>
                <a:cubicBezTo>
                  <a:pt x="12188220" y="4171951"/>
                  <a:pt x="12189808" y="5529264"/>
                  <a:pt x="12191395" y="6886576"/>
                </a:cubicBezTo>
                <a:lnTo>
                  <a:pt x="0" y="688657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www.crownpeak.co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2"/>
            <a:ext cx="2148810" cy="40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300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415E7-76CE-6D4A-8492-ABFF9DCD3F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7676F-40EF-E142-8E6D-70AA2D65BA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415E7-76CE-6D4A-8492-ABFF9DCD3F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7676F-40EF-E142-8E6D-70AA2D65BA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415E7-76CE-6D4A-8492-ABFF9DCD3F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7676F-40EF-E142-8E6D-70AA2D65BA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415E7-76CE-6D4A-8492-ABFF9DCD3F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7676F-40EF-E142-8E6D-70AA2D65BA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415E7-76CE-6D4A-8492-ABFF9DCD3F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7676F-40EF-E142-8E6D-70AA2D65BA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415E7-76CE-6D4A-8492-ABFF9DCD3F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7676F-40EF-E142-8E6D-70AA2D65BA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415E7-76CE-6D4A-8492-ABFF9DCD3F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7676F-40EF-E142-8E6D-70AA2D65BA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creen Magenta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apezoid 11"/>
          <p:cNvSpPr/>
          <p:nvPr userDrawn="1"/>
        </p:nvSpPr>
        <p:spPr>
          <a:xfrm>
            <a:off x="-31294" y="-1484"/>
            <a:ext cx="6121119" cy="6870116"/>
          </a:xfrm>
          <a:custGeom>
            <a:avLst/>
            <a:gdLst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254681 w 4339575"/>
              <a:gd name="connsiteY2" fmla="*/ 0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305481 w 4339575"/>
              <a:gd name="connsiteY2" fmla="*/ 135466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1150306 w 5489881"/>
              <a:gd name="connsiteY0" fmla="*/ 6888789 h 6888789"/>
              <a:gd name="connsiteX1" fmla="*/ 0 w 5489881"/>
              <a:gd name="connsiteY1" fmla="*/ 135468 h 6888789"/>
              <a:gd name="connsiteX2" fmla="*/ 4455787 w 5489881"/>
              <a:gd name="connsiteY2" fmla="*/ 0 h 6888789"/>
              <a:gd name="connsiteX3" fmla="*/ 5489881 w 5489881"/>
              <a:gd name="connsiteY3" fmla="*/ 6888789 h 6888789"/>
              <a:gd name="connsiteX4" fmla="*/ 1150306 w 5489881"/>
              <a:gd name="connsiteY4" fmla="*/ 6888789 h 6888789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4472720 w 5489881"/>
              <a:gd name="connsiteY2" fmla="*/ 33865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389920 w 5489881"/>
              <a:gd name="connsiteY2" fmla="*/ 50799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728587 w 5489881"/>
              <a:gd name="connsiteY2" fmla="*/ 33866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87188 h 6787188"/>
              <a:gd name="connsiteX1" fmla="*/ 0 w 5489881"/>
              <a:gd name="connsiteY1" fmla="*/ 33867 h 6787188"/>
              <a:gd name="connsiteX2" fmla="*/ 2711654 w 5489881"/>
              <a:gd name="connsiteY2" fmla="*/ 0 h 6787188"/>
              <a:gd name="connsiteX3" fmla="*/ 5489881 w 5489881"/>
              <a:gd name="connsiteY3" fmla="*/ 6787188 h 6787188"/>
              <a:gd name="connsiteX4" fmla="*/ 1150306 w 5489881"/>
              <a:gd name="connsiteY4" fmla="*/ 6787188 h 6787188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677787 w 5489881"/>
              <a:gd name="connsiteY2" fmla="*/ 16933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6268815"/>
              <a:gd name="connsiteY0" fmla="*/ 6753321 h 6973454"/>
              <a:gd name="connsiteX1" fmla="*/ 0 w 6268815"/>
              <a:gd name="connsiteY1" fmla="*/ 0 h 6973454"/>
              <a:gd name="connsiteX2" fmla="*/ 2677787 w 6268815"/>
              <a:gd name="connsiteY2" fmla="*/ 16933 h 6973454"/>
              <a:gd name="connsiteX3" fmla="*/ 6268815 w 6268815"/>
              <a:gd name="connsiteY3" fmla="*/ 6973454 h 6973454"/>
              <a:gd name="connsiteX4" fmla="*/ 1150306 w 6268815"/>
              <a:gd name="connsiteY4" fmla="*/ 6753321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678947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593886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121119"/>
              <a:gd name="connsiteY0" fmla="*/ 6939587 h 6984196"/>
              <a:gd name="connsiteX1" fmla="*/ 1160 w 6121119"/>
              <a:gd name="connsiteY1" fmla="*/ 0 h 6984196"/>
              <a:gd name="connsiteX2" fmla="*/ 2593886 w 6121119"/>
              <a:gd name="connsiteY2" fmla="*/ 16933 h 6984196"/>
              <a:gd name="connsiteX3" fmla="*/ 6121119 w 6121119"/>
              <a:gd name="connsiteY3" fmla="*/ 6984196 h 6984196"/>
              <a:gd name="connsiteX4" fmla="*/ 0 w 6121119"/>
              <a:gd name="connsiteY4" fmla="*/ 693958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592729 w 6119962"/>
              <a:gd name="connsiteY2" fmla="*/ 16933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624626 w 6119962"/>
              <a:gd name="connsiteY2" fmla="*/ 70647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20112 w 6098700"/>
              <a:gd name="connsiteY0" fmla="*/ 6939587 h 6941226"/>
              <a:gd name="connsiteX1" fmla="*/ 6 w 6098700"/>
              <a:gd name="connsiteY1" fmla="*/ 0 h 6941226"/>
              <a:gd name="connsiteX2" fmla="*/ 2603364 w 6098700"/>
              <a:gd name="connsiteY2" fmla="*/ 27677 h 6941226"/>
              <a:gd name="connsiteX3" fmla="*/ 6098700 w 6098700"/>
              <a:gd name="connsiteY3" fmla="*/ 6941226 h 6941226"/>
              <a:gd name="connsiteX4" fmla="*/ 20112 w 6098700"/>
              <a:gd name="connsiteY4" fmla="*/ 6939587 h 6941226"/>
              <a:gd name="connsiteX0" fmla="*/ 0 w 6121119"/>
              <a:gd name="connsiteY0" fmla="*/ 6918102 h 6941226"/>
              <a:gd name="connsiteX1" fmla="*/ 22425 w 6121119"/>
              <a:gd name="connsiteY1" fmla="*/ 0 h 6941226"/>
              <a:gd name="connsiteX2" fmla="*/ 2625783 w 6121119"/>
              <a:gd name="connsiteY2" fmla="*/ 27677 h 6941226"/>
              <a:gd name="connsiteX3" fmla="*/ 6121119 w 6121119"/>
              <a:gd name="connsiteY3" fmla="*/ 6941226 h 6941226"/>
              <a:gd name="connsiteX4" fmla="*/ 0 w 6121119"/>
              <a:gd name="connsiteY4" fmla="*/ 6918102 h 6941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1119" h="6941226">
                <a:moveTo>
                  <a:pt x="0" y="6918102"/>
                </a:moveTo>
                <a:cubicBezTo>
                  <a:pt x="387" y="4604906"/>
                  <a:pt x="22038" y="2313196"/>
                  <a:pt x="22425" y="0"/>
                </a:cubicBezTo>
                <a:lnTo>
                  <a:pt x="2625783" y="27677"/>
                </a:lnTo>
                <a:lnTo>
                  <a:pt x="6121119" y="6941226"/>
                </a:lnTo>
                <a:lnTo>
                  <a:pt x="0" y="6918102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+mn-lt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2"/>
            <a:ext cx="2148810" cy="406841"/>
          </a:xfrm>
          <a:prstGeom prst="rect">
            <a:avLst/>
          </a:prstGeom>
        </p:spPr>
      </p:pic>
      <p:sp>
        <p:nvSpPr>
          <p:cNvPr id="20" name="Right Triangle 19"/>
          <p:cNvSpPr/>
          <p:nvPr userDrawn="1"/>
        </p:nvSpPr>
        <p:spPr>
          <a:xfrm rot="10800000" flipH="1">
            <a:off x="-31295" y="-14286"/>
            <a:ext cx="6738111" cy="3681221"/>
          </a:xfrm>
          <a:custGeom>
            <a:avLst/>
            <a:gdLst>
              <a:gd name="connsiteX0" fmla="*/ 0 w 5913047"/>
              <a:gd name="connsiteY0" fmla="*/ 3980599 h 3980599"/>
              <a:gd name="connsiteX1" fmla="*/ 0 w 5913047"/>
              <a:gd name="connsiteY1" fmla="*/ 0 h 3980599"/>
              <a:gd name="connsiteX2" fmla="*/ 5913047 w 5913047"/>
              <a:gd name="connsiteY2" fmla="*/ 3980599 h 3980599"/>
              <a:gd name="connsiteX3" fmla="*/ 0 w 5913047"/>
              <a:gd name="connsiteY3" fmla="*/ 3980599 h 3980599"/>
              <a:gd name="connsiteX0" fmla="*/ 0 w 6956034"/>
              <a:gd name="connsiteY0" fmla="*/ 3980599 h 3980599"/>
              <a:gd name="connsiteX1" fmla="*/ 0 w 6956034"/>
              <a:gd name="connsiteY1" fmla="*/ 0 h 3980599"/>
              <a:gd name="connsiteX2" fmla="*/ 6956034 w 6956034"/>
              <a:gd name="connsiteY2" fmla="*/ 3894874 h 3980599"/>
              <a:gd name="connsiteX3" fmla="*/ 0 w 6956034"/>
              <a:gd name="connsiteY3" fmla="*/ 3980599 h 3980599"/>
              <a:gd name="connsiteX0" fmla="*/ 14288 w 6956034"/>
              <a:gd name="connsiteY0" fmla="*/ 3909162 h 3909162"/>
              <a:gd name="connsiteX1" fmla="*/ 0 w 6956034"/>
              <a:gd name="connsiteY1" fmla="*/ 0 h 3909162"/>
              <a:gd name="connsiteX2" fmla="*/ 6956034 w 6956034"/>
              <a:gd name="connsiteY2" fmla="*/ 3894874 h 3909162"/>
              <a:gd name="connsiteX3" fmla="*/ 14288 w 6956034"/>
              <a:gd name="connsiteY3" fmla="*/ 3909162 h 3909162"/>
              <a:gd name="connsiteX0" fmla="*/ 634 w 6942380"/>
              <a:gd name="connsiteY0" fmla="*/ 3837724 h 3837724"/>
              <a:gd name="connsiteX1" fmla="*/ 14921 w 6942380"/>
              <a:gd name="connsiteY1" fmla="*/ 0 h 3837724"/>
              <a:gd name="connsiteX2" fmla="*/ 6942380 w 6942380"/>
              <a:gd name="connsiteY2" fmla="*/ 3823436 h 3837724"/>
              <a:gd name="connsiteX3" fmla="*/ 634 w 6942380"/>
              <a:gd name="connsiteY3" fmla="*/ 3837724 h 3837724"/>
              <a:gd name="connsiteX0" fmla="*/ 414 w 6942160"/>
              <a:gd name="connsiteY0" fmla="*/ 3709136 h 3709136"/>
              <a:gd name="connsiteX1" fmla="*/ 28989 w 6942160"/>
              <a:gd name="connsiteY1" fmla="*/ 0 h 3709136"/>
              <a:gd name="connsiteX2" fmla="*/ 6942160 w 6942160"/>
              <a:gd name="connsiteY2" fmla="*/ 3694848 h 3709136"/>
              <a:gd name="connsiteX3" fmla="*/ 414 w 6942160"/>
              <a:gd name="connsiteY3" fmla="*/ 3709136 h 3709136"/>
              <a:gd name="connsiteX0" fmla="*/ 414 w 6942160"/>
              <a:gd name="connsiteY0" fmla="*/ 3751998 h 3751998"/>
              <a:gd name="connsiteX1" fmla="*/ 28989 w 6942160"/>
              <a:gd name="connsiteY1" fmla="*/ 0 h 3751998"/>
              <a:gd name="connsiteX2" fmla="*/ 6942160 w 6942160"/>
              <a:gd name="connsiteY2" fmla="*/ 3737710 h 3751998"/>
              <a:gd name="connsiteX3" fmla="*/ 414 w 6942160"/>
              <a:gd name="connsiteY3" fmla="*/ 3751998 h 3751998"/>
              <a:gd name="connsiteX0" fmla="*/ 71438 w 7013184"/>
              <a:gd name="connsiteY0" fmla="*/ 3780573 h 3780573"/>
              <a:gd name="connsiteX1" fmla="*/ 0 w 7013184"/>
              <a:gd name="connsiteY1" fmla="*/ 0 h 3780573"/>
              <a:gd name="connsiteX2" fmla="*/ 7013184 w 7013184"/>
              <a:gd name="connsiteY2" fmla="*/ 3766285 h 3780573"/>
              <a:gd name="connsiteX3" fmla="*/ 71438 w 7013184"/>
              <a:gd name="connsiteY3" fmla="*/ 3780573 h 3780573"/>
              <a:gd name="connsiteX0" fmla="*/ 1374 w 7014558"/>
              <a:gd name="connsiteY0" fmla="*/ 3780573 h 3780573"/>
              <a:gd name="connsiteX1" fmla="*/ 1374 w 7014558"/>
              <a:gd name="connsiteY1" fmla="*/ 0 h 3780573"/>
              <a:gd name="connsiteX2" fmla="*/ 7014558 w 7014558"/>
              <a:gd name="connsiteY2" fmla="*/ 3766285 h 3780573"/>
              <a:gd name="connsiteX3" fmla="*/ 1374 w 7014558"/>
              <a:gd name="connsiteY3" fmla="*/ 3780573 h 3780573"/>
              <a:gd name="connsiteX0" fmla="*/ 1374 w 6334075"/>
              <a:gd name="connsiteY0" fmla="*/ 3780573 h 3798182"/>
              <a:gd name="connsiteX1" fmla="*/ 1374 w 6334075"/>
              <a:gd name="connsiteY1" fmla="*/ 0 h 3798182"/>
              <a:gd name="connsiteX2" fmla="*/ 6334075 w 6334075"/>
              <a:gd name="connsiteY2" fmla="*/ 3798182 h 3798182"/>
              <a:gd name="connsiteX3" fmla="*/ 1374 w 6334075"/>
              <a:gd name="connsiteY3" fmla="*/ 3780573 h 3798182"/>
              <a:gd name="connsiteX0" fmla="*/ 1374 w 5058168"/>
              <a:gd name="connsiteY0" fmla="*/ 3780573 h 3883242"/>
              <a:gd name="connsiteX1" fmla="*/ 1374 w 5058168"/>
              <a:gd name="connsiteY1" fmla="*/ 0 h 3883242"/>
              <a:gd name="connsiteX2" fmla="*/ 5058168 w 5058168"/>
              <a:gd name="connsiteY2" fmla="*/ 3883242 h 3883242"/>
              <a:gd name="connsiteX3" fmla="*/ 1374 w 5058168"/>
              <a:gd name="connsiteY3" fmla="*/ 3780573 h 3883242"/>
              <a:gd name="connsiteX0" fmla="*/ 1374 w 3750363"/>
              <a:gd name="connsiteY0" fmla="*/ 3780573 h 3989567"/>
              <a:gd name="connsiteX1" fmla="*/ 1374 w 3750363"/>
              <a:gd name="connsiteY1" fmla="*/ 0 h 3989567"/>
              <a:gd name="connsiteX2" fmla="*/ 3750363 w 3750363"/>
              <a:gd name="connsiteY2" fmla="*/ 3989567 h 3989567"/>
              <a:gd name="connsiteX3" fmla="*/ 1374 w 3750363"/>
              <a:gd name="connsiteY3" fmla="*/ 3780573 h 3989567"/>
              <a:gd name="connsiteX0" fmla="*/ 1374 w 5515368"/>
              <a:gd name="connsiteY0" fmla="*/ 3780573 h 3780573"/>
              <a:gd name="connsiteX1" fmla="*/ 1374 w 5515368"/>
              <a:gd name="connsiteY1" fmla="*/ 0 h 3780573"/>
              <a:gd name="connsiteX2" fmla="*/ 5515368 w 5515368"/>
              <a:gd name="connsiteY2" fmla="*/ 3745018 h 3780573"/>
              <a:gd name="connsiteX3" fmla="*/ 1374 w 5515368"/>
              <a:gd name="connsiteY3" fmla="*/ 3780573 h 3780573"/>
              <a:gd name="connsiteX0" fmla="*/ 1374 w 7429229"/>
              <a:gd name="connsiteY0" fmla="*/ 3780573 h 3780573"/>
              <a:gd name="connsiteX1" fmla="*/ 1374 w 7429229"/>
              <a:gd name="connsiteY1" fmla="*/ 0 h 3780573"/>
              <a:gd name="connsiteX2" fmla="*/ 7429229 w 7429229"/>
              <a:gd name="connsiteY2" fmla="*/ 3766283 h 3780573"/>
              <a:gd name="connsiteX3" fmla="*/ 1374 w 7429229"/>
              <a:gd name="connsiteY3" fmla="*/ 3780573 h 3780573"/>
              <a:gd name="connsiteX0" fmla="*/ 735 w 7428590"/>
              <a:gd name="connsiteY0" fmla="*/ 4003857 h 4003857"/>
              <a:gd name="connsiteX1" fmla="*/ 11367 w 7428590"/>
              <a:gd name="connsiteY1" fmla="*/ 0 h 4003857"/>
              <a:gd name="connsiteX2" fmla="*/ 7428590 w 7428590"/>
              <a:gd name="connsiteY2" fmla="*/ 3989567 h 4003857"/>
              <a:gd name="connsiteX3" fmla="*/ 735 w 7428590"/>
              <a:gd name="connsiteY3" fmla="*/ 4003857 h 4003857"/>
              <a:gd name="connsiteX0" fmla="*/ 1376 w 7418598"/>
              <a:gd name="connsiteY0" fmla="*/ 3855001 h 3989567"/>
              <a:gd name="connsiteX1" fmla="*/ 1375 w 7418598"/>
              <a:gd name="connsiteY1" fmla="*/ 0 h 3989567"/>
              <a:gd name="connsiteX2" fmla="*/ 7418598 w 7418598"/>
              <a:gd name="connsiteY2" fmla="*/ 3989567 h 3989567"/>
              <a:gd name="connsiteX3" fmla="*/ 1376 w 7418598"/>
              <a:gd name="connsiteY3" fmla="*/ 3855001 h 3989567"/>
              <a:gd name="connsiteX0" fmla="*/ 10634 w 7417223"/>
              <a:gd name="connsiteY0" fmla="*/ 3971960 h 3989567"/>
              <a:gd name="connsiteX1" fmla="*/ 0 w 7417223"/>
              <a:gd name="connsiteY1" fmla="*/ 0 h 3989567"/>
              <a:gd name="connsiteX2" fmla="*/ 7417223 w 7417223"/>
              <a:gd name="connsiteY2" fmla="*/ 3989567 h 3989567"/>
              <a:gd name="connsiteX3" fmla="*/ 10634 w 7417223"/>
              <a:gd name="connsiteY3" fmla="*/ 3971960 h 3989567"/>
              <a:gd name="connsiteX0" fmla="*/ 10634 w 6417762"/>
              <a:gd name="connsiteY0" fmla="*/ 3971960 h 3971960"/>
              <a:gd name="connsiteX1" fmla="*/ 0 w 6417762"/>
              <a:gd name="connsiteY1" fmla="*/ 0 h 3971960"/>
              <a:gd name="connsiteX2" fmla="*/ 6417762 w 6417762"/>
              <a:gd name="connsiteY2" fmla="*/ 3649325 h 3971960"/>
              <a:gd name="connsiteX3" fmla="*/ 10634 w 6417762"/>
              <a:gd name="connsiteY3" fmla="*/ 3971960 h 3971960"/>
              <a:gd name="connsiteX0" fmla="*/ 10634 w 5822339"/>
              <a:gd name="connsiteY0" fmla="*/ 3971960 h 3971960"/>
              <a:gd name="connsiteX1" fmla="*/ 0 w 5822339"/>
              <a:gd name="connsiteY1" fmla="*/ 0 h 3971960"/>
              <a:gd name="connsiteX2" fmla="*/ 5822339 w 5822339"/>
              <a:gd name="connsiteY2" fmla="*/ 2713660 h 3971960"/>
              <a:gd name="connsiteX3" fmla="*/ 10634 w 5822339"/>
              <a:gd name="connsiteY3" fmla="*/ 3971960 h 3971960"/>
              <a:gd name="connsiteX0" fmla="*/ 10634 w 6991920"/>
              <a:gd name="connsiteY0" fmla="*/ 3971960 h 3978934"/>
              <a:gd name="connsiteX1" fmla="*/ 0 w 6991920"/>
              <a:gd name="connsiteY1" fmla="*/ 0 h 3978934"/>
              <a:gd name="connsiteX2" fmla="*/ 6991920 w 6991920"/>
              <a:gd name="connsiteY2" fmla="*/ 3978934 h 3978934"/>
              <a:gd name="connsiteX3" fmla="*/ 10634 w 6991920"/>
              <a:gd name="connsiteY3" fmla="*/ 3971960 h 3978934"/>
              <a:gd name="connsiteX0" fmla="*/ 10634 w 6736738"/>
              <a:gd name="connsiteY0" fmla="*/ 3971960 h 3989566"/>
              <a:gd name="connsiteX1" fmla="*/ 0 w 6736738"/>
              <a:gd name="connsiteY1" fmla="*/ 0 h 3989566"/>
              <a:gd name="connsiteX2" fmla="*/ 6736738 w 6736738"/>
              <a:gd name="connsiteY2" fmla="*/ 3989566 h 3989566"/>
              <a:gd name="connsiteX3" fmla="*/ 10634 w 6736738"/>
              <a:gd name="connsiteY3" fmla="*/ 3971960 h 3989566"/>
              <a:gd name="connsiteX0" fmla="*/ 42532 w 6768636"/>
              <a:gd name="connsiteY0" fmla="*/ 3663615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42532 w 6768636"/>
              <a:gd name="connsiteY3" fmla="*/ 3663615 h 3681221"/>
              <a:gd name="connsiteX0" fmla="*/ 21267 w 6768636"/>
              <a:gd name="connsiteY0" fmla="*/ 3674248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21267 w 6768636"/>
              <a:gd name="connsiteY3" fmla="*/ 3674248 h 3681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68636" h="3681221">
                <a:moveTo>
                  <a:pt x="21267" y="3674248"/>
                </a:moveTo>
                <a:cubicBezTo>
                  <a:pt x="16504" y="2371194"/>
                  <a:pt x="4763" y="1303054"/>
                  <a:pt x="0" y="0"/>
                </a:cubicBezTo>
                <a:lnTo>
                  <a:pt x="6768636" y="3681221"/>
                </a:lnTo>
                <a:lnTo>
                  <a:pt x="21267" y="3674248"/>
                </a:lnTo>
                <a:close/>
              </a:path>
            </a:pathLst>
          </a:custGeom>
          <a:solidFill>
            <a:srgbClr val="B5217E"/>
          </a:solidFill>
          <a:ln>
            <a:noFill/>
          </a:ln>
          <a:effectLst>
            <a:outerShdw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08391" y="4347786"/>
            <a:ext cx="9144000" cy="293957"/>
          </a:xfrm>
        </p:spPr>
        <p:txBody>
          <a:bodyPr>
            <a:normAutofit/>
          </a:bodyPr>
          <a:lstStyle>
            <a:lvl1pPr marL="0" indent="0" algn="r">
              <a:buNone/>
              <a:defRPr sz="1600" baseline="0">
                <a:solidFill>
                  <a:srgbClr val="00395A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Name of Presenter / Job Title / Date</a:t>
            </a:r>
          </a:p>
        </p:txBody>
      </p:sp>
    </p:spTree>
    <p:extLst>
      <p:ext uri="{BB962C8B-B14F-4D97-AF65-F5344CB8AC3E}">
        <p14:creationId xmlns:p14="http://schemas.microsoft.com/office/powerpoint/2010/main" val="372954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415E7-76CE-6D4A-8492-ABFF9DCD3F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7676F-40EF-E142-8E6D-70AA2D65BA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415E7-76CE-6D4A-8492-ABFF9DCD3F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7676F-40EF-E142-8E6D-70AA2D65BA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415E7-76CE-6D4A-8492-ABFF9DCD3F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7676F-40EF-E142-8E6D-70AA2D65BA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415E7-76CE-6D4A-8492-ABFF9DCD3F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7676F-40EF-E142-8E6D-70AA2D65BA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creen w/ PS Graphic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68" y="2171"/>
            <a:ext cx="674995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Calibri" charset="0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2"/>
            <a:ext cx="2148810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creen Magenta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apezoid 11"/>
          <p:cNvSpPr/>
          <p:nvPr userDrawn="1"/>
        </p:nvSpPr>
        <p:spPr>
          <a:xfrm>
            <a:off x="-31294" y="-1484"/>
            <a:ext cx="6121119" cy="6870116"/>
          </a:xfrm>
          <a:custGeom>
            <a:avLst/>
            <a:gdLst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254681 w 4339575"/>
              <a:gd name="connsiteY2" fmla="*/ 0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305481 w 4339575"/>
              <a:gd name="connsiteY2" fmla="*/ 135466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1150306 w 5489881"/>
              <a:gd name="connsiteY0" fmla="*/ 6888789 h 6888789"/>
              <a:gd name="connsiteX1" fmla="*/ 0 w 5489881"/>
              <a:gd name="connsiteY1" fmla="*/ 135468 h 6888789"/>
              <a:gd name="connsiteX2" fmla="*/ 4455787 w 5489881"/>
              <a:gd name="connsiteY2" fmla="*/ 0 h 6888789"/>
              <a:gd name="connsiteX3" fmla="*/ 5489881 w 5489881"/>
              <a:gd name="connsiteY3" fmla="*/ 6888789 h 6888789"/>
              <a:gd name="connsiteX4" fmla="*/ 1150306 w 5489881"/>
              <a:gd name="connsiteY4" fmla="*/ 6888789 h 6888789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4472720 w 5489881"/>
              <a:gd name="connsiteY2" fmla="*/ 33865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389920 w 5489881"/>
              <a:gd name="connsiteY2" fmla="*/ 50799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728587 w 5489881"/>
              <a:gd name="connsiteY2" fmla="*/ 33866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87188 h 6787188"/>
              <a:gd name="connsiteX1" fmla="*/ 0 w 5489881"/>
              <a:gd name="connsiteY1" fmla="*/ 33867 h 6787188"/>
              <a:gd name="connsiteX2" fmla="*/ 2711654 w 5489881"/>
              <a:gd name="connsiteY2" fmla="*/ 0 h 6787188"/>
              <a:gd name="connsiteX3" fmla="*/ 5489881 w 5489881"/>
              <a:gd name="connsiteY3" fmla="*/ 6787188 h 6787188"/>
              <a:gd name="connsiteX4" fmla="*/ 1150306 w 5489881"/>
              <a:gd name="connsiteY4" fmla="*/ 6787188 h 6787188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677787 w 5489881"/>
              <a:gd name="connsiteY2" fmla="*/ 16933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6268815"/>
              <a:gd name="connsiteY0" fmla="*/ 6753321 h 6973454"/>
              <a:gd name="connsiteX1" fmla="*/ 0 w 6268815"/>
              <a:gd name="connsiteY1" fmla="*/ 0 h 6973454"/>
              <a:gd name="connsiteX2" fmla="*/ 2677787 w 6268815"/>
              <a:gd name="connsiteY2" fmla="*/ 16933 h 6973454"/>
              <a:gd name="connsiteX3" fmla="*/ 6268815 w 6268815"/>
              <a:gd name="connsiteY3" fmla="*/ 6973454 h 6973454"/>
              <a:gd name="connsiteX4" fmla="*/ 1150306 w 6268815"/>
              <a:gd name="connsiteY4" fmla="*/ 6753321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678947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593886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121119"/>
              <a:gd name="connsiteY0" fmla="*/ 6939587 h 6984196"/>
              <a:gd name="connsiteX1" fmla="*/ 1160 w 6121119"/>
              <a:gd name="connsiteY1" fmla="*/ 0 h 6984196"/>
              <a:gd name="connsiteX2" fmla="*/ 2593886 w 6121119"/>
              <a:gd name="connsiteY2" fmla="*/ 16933 h 6984196"/>
              <a:gd name="connsiteX3" fmla="*/ 6121119 w 6121119"/>
              <a:gd name="connsiteY3" fmla="*/ 6984196 h 6984196"/>
              <a:gd name="connsiteX4" fmla="*/ 0 w 6121119"/>
              <a:gd name="connsiteY4" fmla="*/ 693958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592729 w 6119962"/>
              <a:gd name="connsiteY2" fmla="*/ 16933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624626 w 6119962"/>
              <a:gd name="connsiteY2" fmla="*/ 70647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20112 w 6098700"/>
              <a:gd name="connsiteY0" fmla="*/ 6939587 h 6941226"/>
              <a:gd name="connsiteX1" fmla="*/ 6 w 6098700"/>
              <a:gd name="connsiteY1" fmla="*/ 0 h 6941226"/>
              <a:gd name="connsiteX2" fmla="*/ 2603364 w 6098700"/>
              <a:gd name="connsiteY2" fmla="*/ 27677 h 6941226"/>
              <a:gd name="connsiteX3" fmla="*/ 6098700 w 6098700"/>
              <a:gd name="connsiteY3" fmla="*/ 6941226 h 6941226"/>
              <a:gd name="connsiteX4" fmla="*/ 20112 w 6098700"/>
              <a:gd name="connsiteY4" fmla="*/ 6939587 h 6941226"/>
              <a:gd name="connsiteX0" fmla="*/ 0 w 6121119"/>
              <a:gd name="connsiteY0" fmla="*/ 6918102 h 6941226"/>
              <a:gd name="connsiteX1" fmla="*/ 22425 w 6121119"/>
              <a:gd name="connsiteY1" fmla="*/ 0 h 6941226"/>
              <a:gd name="connsiteX2" fmla="*/ 2625783 w 6121119"/>
              <a:gd name="connsiteY2" fmla="*/ 27677 h 6941226"/>
              <a:gd name="connsiteX3" fmla="*/ 6121119 w 6121119"/>
              <a:gd name="connsiteY3" fmla="*/ 6941226 h 6941226"/>
              <a:gd name="connsiteX4" fmla="*/ 0 w 6121119"/>
              <a:gd name="connsiteY4" fmla="*/ 6918102 h 6941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1119" h="6941226">
                <a:moveTo>
                  <a:pt x="0" y="6918102"/>
                </a:moveTo>
                <a:cubicBezTo>
                  <a:pt x="387" y="4604906"/>
                  <a:pt x="22038" y="2313196"/>
                  <a:pt x="22425" y="0"/>
                </a:cubicBezTo>
                <a:lnTo>
                  <a:pt x="2625783" y="27677"/>
                </a:lnTo>
                <a:lnTo>
                  <a:pt x="6121119" y="6941226"/>
                </a:lnTo>
                <a:lnTo>
                  <a:pt x="0" y="6918102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Calibri" charset="0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sp>
        <p:nvSpPr>
          <p:cNvPr id="17" name="Subtitle 2"/>
          <p:cNvSpPr txBox="1">
            <a:spLocks/>
          </p:cNvSpPr>
          <p:nvPr userDrawn="1"/>
        </p:nvSpPr>
        <p:spPr>
          <a:xfrm>
            <a:off x="2916140" y="4351408"/>
            <a:ext cx="9144000" cy="2341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rgbClr val="B5217E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t>Greg Perrin / Director of Sales / December 12, 2016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2"/>
            <a:ext cx="2148810" cy="406841"/>
          </a:xfrm>
          <a:prstGeom prst="rect">
            <a:avLst/>
          </a:prstGeom>
        </p:spPr>
      </p:pic>
      <p:sp>
        <p:nvSpPr>
          <p:cNvPr id="20" name="Right Triangle 19"/>
          <p:cNvSpPr/>
          <p:nvPr userDrawn="1"/>
        </p:nvSpPr>
        <p:spPr>
          <a:xfrm rot="10800000" flipH="1">
            <a:off x="-31295" y="-14286"/>
            <a:ext cx="6738111" cy="3681221"/>
          </a:xfrm>
          <a:custGeom>
            <a:avLst/>
            <a:gdLst>
              <a:gd name="connsiteX0" fmla="*/ 0 w 5913047"/>
              <a:gd name="connsiteY0" fmla="*/ 3980599 h 3980599"/>
              <a:gd name="connsiteX1" fmla="*/ 0 w 5913047"/>
              <a:gd name="connsiteY1" fmla="*/ 0 h 3980599"/>
              <a:gd name="connsiteX2" fmla="*/ 5913047 w 5913047"/>
              <a:gd name="connsiteY2" fmla="*/ 3980599 h 3980599"/>
              <a:gd name="connsiteX3" fmla="*/ 0 w 5913047"/>
              <a:gd name="connsiteY3" fmla="*/ 3980599 h 3980599"/>
              <a:gd name="connsiteX0" fmla="*/ 0 w 6956034"/>
              <a:gd name="connsiteY0" fmla="*/ 3980599 h 3980599"/>
              <a:gd name="connsiteX1" fmla="*/ 0 w 6956034"/>
              <a:gd name="connsiteY1" fmla="*/ 0 h 3980599"/>
              <a:gd name="connsiteX2" fmla="*/ 6956034 w 6956034"/>
              <a:gd name="connsiteY2" fmla="*/ 3894874 h 3980599"/>
              <a:gd name="connsiteX3" fmla="*/ 0 w 6956034"/>
              <a:gd name="connsiteY3" fmla="*/ 3980599 h 3980599"/>
              <a:gd name="connsiteX0" fmla="*/ 14288 w 6956034"/>
              <a:gd name="connsiteY0" fmla="*/ 3909162 h 3909162"/>
              <a:gd name="connsiteX1" fmla="*/ 0 w 6956034"/>
              <a:gd name="connsiteY1" fmla="*/ 0 h 3909162"/>
              <a:gd name="connsiteX2" fmla="*/ 6956034 w 6956034"/>
              <a:gd name="connsiteY2" fmla="*/ 3894874 h 3909162"/>
              <a:gd name="connsiteX3" fmla="*/ 14288 w 6956034"/>
              <a:gd name="connsiteY3" fmla="*/ 3909162 h 3909162"/>
              <a:gd name="connsiteX0" fmla="*/ 634 w 6942380"/>
              <a:gd name="connsiteY0" fmla="*/ 3837724 h 3837724"/>
              <a:gd name="connsiteX1" fmla="*/ 14921 w 6942380"/>
              <a:gd name="connsiteY1" fmla="*/ 0 h 3837724"/>
              <a:gd name="connsiteX2" fmla="*/ 6942380 w 6942380"/>
              <a:gd name="connsiteY2" fmla="*/ 3823436 h 3837724"/>
              <a:gd name="connsiteX3" fmla="*/ 634 w 6942380"/>
              <a:gd name="connsiteY3" fmla="*/ 3837724 h 3837724"/>
              <a:gd name="connsiteX0" fmla="*/ 414 w 6942160"/>
              <a:gd name="connsiteY0" fmla="*/ 3709136 h 3709136"/>
              <a:gd name="connsiteX1" fmla="*/ 28989 w 6942160"/>
              <a:gd name="connsiteY1" fmla="*/ 0 h 3709136"/>
              <a:gd name="connsiteX2" fmla="*/ 6942160 w 6942160"/>
              <a:gd name="connsiteY2" fmla="*/ 3694848 h 3709136"/>
              <a:gd name="connsiteX3" fmla="*/ 414 w 6942160"/>
              <a:gd name="connsiteY3" fmla="*/ 3709136 h 3709136"/>
              <a:gd name="connsiteX0" fmla="*/ 414 w 6942160"/>
              <a:gd name="connsiteY0" fmla="*/ 3751998 h 3751998"/>
              <a:gd name="connsiteX1" fmla="*/ 28989 w 6942160"/>
              <a:gd name="connsiteY1" fmla="*/ 0 h 3751998"/>
              <a:gd name="connsiteX2" fmla="*/ 6942160 w 6942160"/>
              <a:gd name="connsiteY2" fmla="*/ 3737710 h 3751998"/>
              <a:gd name="connsiteX3" fmla="*/ 414 w 6942160"/>
              <a:gd name="connsiteY3" fmla="*/ 3751998 h 3751998"/>
              <a:gd name="connsiteX0" fmla="*/ 71438 w 7013184"/>
              <a:gd name="connsiteY0" fmla="*/ 3780573 h 3780573"/>
              <a:gd name="connsiteX1" fmla="*/ 0 w 7013184"/>
              <a:gd name="connsiteY1" fmla="*/ 0 h 3780573"/>
              <a:gd name="connsiteX2" fmla="*/ 7013184 w 7013184"/>
              <a:gd name="connsiteY2" fmla="*/ 3766285 h 3780573"/>
              <a:gd name="connsiteX3" fmla="*/ 71438 w 7013184"/>
              <a:gd name="connsiteY3" fmla="*/ 3780573 h 3780573"/>
              <a:gd name="connsiteX0" fmla="*/ 1374 w 7014558"/>
              <a:gd name="connsiteY0" fmla="*/ 3780573 h 3780573"/>
              <a:gd name="connsiteX1" fmla="*/ 1374 w 7014558"/>
              <a:gd name="connsiteY1" fmla="*/ 0 h 3780573"/>
              <a:gd name="connsiteX2" fmla="*/ 7014558 w 7014558"/>
              <a:gd name="connsiteY2" fmla="*/ 3766285 h 3780573"/>
              <a:gd name="connsiteX3" fmla="*/ 1374 w 7014558"/>
              <a:gd name="connsiteY3" fmla="*/ 3780573 h 3780573"/>
              <a:gd name="connsiteX0" fmla="*/ 1374 w 6334075"/>
              <a:gd name="connsiteY0" fmla="*/ 3780573 h 3798182"/>
              <a:gd name="connsiteX1" fmla="*/ 1374 w 6334075"/>
              <a:gd name="connsiteY1" fmla="*/ 0 h 3798182"/>
              <a:gd name="connsiteX2" fmla="*/ 6334075 w 6334075"/>
              <a:gd name="connsiteY2" fmla="*/ 3798182 h 3798182"/>
              <a:gd name="connsiteX3" fmla="*/ 1374 w 6334075"/>
              <a:gd name="connsiteY3" fmla="*/ 3780573 h 3798182"/>
              <a:gd name="connsiteX0" fmla="*/ 1374 w 5058168"/>
              <a:gd name="connsiteY0" fmla="*/ 3780573 h 3883242"/>
              <a:gd name="connsiteX1" fmla="*/ 1374 w 5058168"/>
              <a:gd name="connsiteY1" fmla="*/ 0 h 3883242"/>
              <a:gd name="connsiteX2" fmla="*/ 5058168 w 5058168"/>
              <a:gd name="connsiteY2" fmla="*/ 3883242 h 3883242"/>
              <a:gd name="connsiteX3" fmla="*/ 1374 w 5058168"/>
              <a:gd name="connsiteY3" fmla="*/ 3780573 h 3883242"/>
              <a:gd name="connsiteX0" fmla="*/ 1374 w 3750363"/>
              <a:gd name="connsiteY0" fmla="*/ 3780573 h 3989567"/>
              <a:gd name="connsiteX1" fmla="*/ 1374 w 3750363"/>
              <a:gd name="connsiteY1" fmla="*/ 0 h 3989567"/>
              <a:gd name="connsiteX2" fmla="*/ 3750363 w 3750363"/>
              <a:gd name="connsiteY2" fmla="*/ 3989567 h 3989567"/>
              <a:gd name="connsiteX3" fmla="*/ 1374 w 3750363"/>
              <a:gd name="connsiteY3" fmla="*/ 3780573 h 3989567"/>
              <a:gd name="connsiteX0" fmla="*/ 1374 w 5515368"/>
              <a:gd name="connsiteY0" fmla="*/ 3780573 h 3780573"/>
              <a:gd name="connsiteX1" fmla="*/ 1374 w 5515368"/>
              <a:gd name="connsiteY1" fmla="*/ 0 h 3780573"/>
              <a:gd name="connsiteX2" fmla="*/ 5515368 w 5515368"/>
              <a:gd name="connsiteY2" fmla="*/ 3745018 h 3780573"/>
              <a:gd name="connsiteX3" fmla="*/ 1374 w 5515368"/>
              <a:gd name="connsiteY3" fmla="*/ 3780573 h 3780573"/>
              <a:gd name="connsiteX0" fmla="*/ 1374 w 7429229"/>
              <a:gd name="connsiteY0" fmla="*/ 3780573 h 3780573"/>
              <a:gd name="connsiteX1" fmla="*/ 1374 w 7429229"/>
              <a:gd name="connsiteY1" fmla="*/ 0 h 3780573"/>
              <a:gd name="connsiteX2" fmla="*/ 7429229 w 7429229"/>
              <a:gd name="connsiteY2" fmla="*/ 3766283 h 3780573"/>
              <a:gd name="connsiteX3" fmla="*/ 1374 w 7429229"/>
              <a:gd name="connsiteY3" fmla="*/ 3780573 h 3780573"/>
              <a:gd name="connsiteX0" fmla="*/ 735 w 7428590"/>
              <a:gd name="connsiteY0" fmla="*/ 4003857 h 4003857"/>
              <a:gd name="connsiteX1" fmla="*/ 11367 w 7428590"/>
              <a:gd name="connsiteY1" fmla="*/ 0 h 4003857"/>
              <a:gd name="connsiteX2" fmla="*/ 7428590 w 7428590"/>
              <a:gd name="connsiteY2" fmla="*/ 3989567 h 4003857"/>
              <a:gd name="connsiteX3" fmla="*/ 735 w 7428590"/>
              <a:gd name="connsiteY3" fmla="*/ 4003857 h 4003857"/>
              <a:gd name="connsiteX0" fmla="*/ 1376 w 7418598"/>
              <a:gd name="connsiteY0" fmla="*/ 3855001 h 3989567"/>
              <a:gd name="connsiteX1" fmla="*/ 1375 w 7418598"/>
              <a:gd name="connsiteY1" fmla="*/ 0 h 3989567"/>
              <a:gd name="connsiteX2" fmla="*/ 7418598 w 7418598"/>
              <a:gd name="connsiteY2" fmla="*/ 3989567 h 3989567"/>
              <a:gd name="connsiteX3" fmla="*/ 1376 w 7418598"/>
              <a:gd name="connsiteY3" fmla="*/ 3855001 h 3989567"/>
              <a:gd name="connsiteX0" fmla="*/ 10634 w 7417223"/>
              <a:gd name="connsiteY0" fmla="*/ 3971960 h 3989567"/>
              <a:gd name="connsiteX1" fmla="*/ 0 w 7417223"/>
              <a:gd name="connsiteY1" fmla="*/ 0 h 3989567"/>
              <a:gd name="connsiteX2" fmla="*/ 7417223 w 7417223"/>
              <a:gd name="connsiteY2" fmla="*/ 3989567 h 3989567"/>
              <a:gd name="connsiteX3" fmla="*/ 10634 w 7417223"/>
              <a:gd name="connsiteY3" fmla="*/ 3971960 h 3989567"/>
              <a:gd name="connsiteX0" fmla="*/ 10634 w 6417762"/>
              <a:gd name="connsiteY0" fmla="*/ 3971960 h 3971960"/>
              <a:gd name="connsiteX1" fmla="*/ 0 w 6417762"/>
              <a:gd name="connsiteY1" fmla="*/ 0 h 3971960"/>
              <a:gd name="connsiteX2" fmla="*/ 6417762 w 6417762"/>
              <a:gd name="connsiteY2" fmla="*/ 3649325 h 3971960"/>
              <a:gd name="connsiteX3" fmla="*/ 10634 w 6417762"/>
              <a:gd name="connsiteY3" fmla="*/ 3971960 h 3971960"/>
              <a:gd name="connsiteX0" fmla="*/ 10634 w 5822339"/>
              <a:gd name="connsiteY0" fmla="*/ 3971960 h 3971960"/>
              <a:gd name="connsiteX1" fmla="*/ 0 w 5822339"/>
              <a:gd name="connsiteY1" fmla="*/ 0 h 3971960"/>
              <a:gd name="connsiteX2" fmla="*/ 5822339 w 5822339"/>
              <a:gd name="connsiteY2" fmla="*/ 2713660 h 3971960"/>
              <a:gd name="connsiteX3" fmla="*/ 10634 w 5822339"/>
              <a:gd name="connsiteY3" fmla="*/ 3971960 h 3971960"/>
              <a:gd name="connsiteX0" fmla="*/ 10634 w 6991920"/>
              <a:gd name="connsiteY0" fmla="*/ 3971960 h 3978934"/>
              <a:gd name="connsiteX1" fmla="*/ 0 w 6991920"/>
              <a:gd name="connsiteY1" fmla="*/ 0 h 3978934"/>
              <a:gd name="connsiteX2" fmla="*/ 6991920 w 6991920"/>
              <a:gd name="connsiteY2" fmla="*/ 3978934 h 3978934"/>
              <a:gd name="connsiteX3" fmla="*/ 10634 w 6991920"/>
              <a:gd name="connsiteY3" fmla="*/ 3971960 h 3978934"/>
              <a:gd name="connsiteX0" fmla="*/ 10634 w 6736738"/>
              <a:gd name="connsiteY0" fmla="*/ 3971960 h 3989566"/>
              <a:gd name="connsiteX1" fmla="*/ 0 w 6736738"/>
              <a:gd name="connsiteY1" fmla="*/ 0 h 3989566"/>
              <a:gd name="connsiteX2" fmla="*/ 6736738 w 6736738"/>
              <a:gd name="connsiteY2" fmla="*/ 3989566 h 3989566"/>
              <a:gd name="connsiteX3" fmla="*/ 10634 w 6736738"/>
              <a:gd name="connsiteY3" fmla="*/ 3971960 h 3989566"/>
              <a:gd name="connsiteX0" fmla="*/ 42532 w 6768636"/>
              <a:gd name="connsiteY0" fmla="*/ 3663615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42532 w 6768636"/>
              <a:gd name="connsiteY3" fmla="*/ 3663615 h 3681221"/>
              <a:gd name="connsiteX0" fmla="*/ 21267 w 6768636"/>
              <a:gd name="connsiteY0" fmla="*/ 3674248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21267 w 6768636"/>
              <a:gd name="connsiteY3" fmla="*/ 3674248 h 3681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68636" h="3681221">
                <a:moveTo>
                  <a:pt x="21267" y="3674248"/>
                </a:moveTo>
                <a:cubicBezTo>
                  <a:pt x="16504" y="2371194"/>
                  <a:pt x="4763" y="1303054"/>
                  <a:pt x="0" y="0"/>
                </a:cubicBezTo>
                <a:lnTo>
                  <a:pt x="6768636" y="3681221"/>
                </a:lnTo>
                <a:lnTo>
                  <a:pt x="21267" y="3674248"/>
                </a:lnTo>
                <a:close/>
              </a:path>
            </a:pathLst>
          </a:custGeom>
          <a:solidFill>
            <a:srgbClr val="B5217E"/>
          </a:solidFill>
          <a:ln>
            <a:noFill/>
          </a:ln>
          <a:effectLst>
            <a:outerShdw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endParaRPr lang="en-US">
              <a:solidFill>
                <a:prstClr val="white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creen Blue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apezoid 11"/>
          <p:cNvSpPr/>
          <p:nvPr userDrawn="1"/>
        </p:nvSpPr>
        <p:spPr>
          <a:xfrm>
            <a:off x="-31294" y="-1484"/>
            <a:ext cx="6121119" cy="6870116"/>
          </a:xfrm>
          <a:custGeom>
            <a:avLst/>
            <a:gdLst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254681 w 4339575"/>
              <a:gd name="connsiteY2" fmla="*/ 0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305481 w 4339575"/>
              <a:gd name="connsiteY2" fmla="*/ 135466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1150306 w 5489881"/>
              <a:gd name="connsiteY0" fmla="*/ 6888789 h 6888789"/>
              <a:gd name="connsiteX1" fmla="*/ 0 w 5489881"/>
              <a:gd name="connsiteY1" fmla="*/ 135468 h 6888789"/>
              <a:gd name="connsiteX2" fmla="*/ 4455787 w 5489881"/>
              <a:gd name="connsiteY2" fmla="*/ 0 h 6888789"/>
              <a:gd name="connsiteX3" fmla="*/ 5489881 w 5489881"/>
              <a:gd name="connsiteY3" fmla="*/ 6888789 h 6888789"/>
              <a:gd name="connsiteX4" fmla="*/ 1150306 w 5489881"/>
              <a:gd name="connsiteY4" fmla="*/ 6888789 h 6888789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4472720 w 5489881"/>
              <a:gd name="connsiteY2" fmla="*/ 33865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389920 w 5489881"/>
              <a:gd name="connsiteY2" fmla="*/ 50799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728587 w 5489881"/>
              <a:gd name="connsiteY2" fmla="*/ 33866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87188 h 6787188"/>
              <a:gd name="connsiteX1" fmla="*/ 0 w 5489881"/>
              <a:gd name="connsiteY1" fmla="*/ 33867 h 6787188"/>
              <a:gd name="connsiteX2" fmla="*/ 2711654 w 5489881"/>
              <a:gd name="connsiteY2" fmla="*/ 0 h 6787188"/>
              <a:gd name="connsiteX3" fmla="*/ 5489881 w 5489881"/>
              <a:gd name="connsiteY3" fmla="*/ 6787188 h 6787188"/>
              <a:gd name="connsiteX4" fmla="*/ 1150306 w 5489881"/>
              <a:gd name="connsiteY4" fmla="*/ 6787188 h 6787188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677787 w 5489881"/>
              <a:gd name="connsiteY2" fmla="*/ 16933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6268815"/>
              <a:gd name="connsiteY0" fmla="*/ 6753321 h 6973454"/>
              <a:gd name="connsiteX1" fmla="*/ 0 w 6268815"/>
              <a:gd name="connsiteY1" fmla="*/ 0 h 6973454"/>
              <a:gd name="connsiteX2" fmla="*/ 2677787 w 6268815"/>
              <a:gd name="connsiteY2" fmla="*/ 16933 h 6973454"/>
              <a:gd name="connsiteX3" fmla="*/ 6268815 w 6268815"/>
              <a:gd name="connsiteY3" fmla="*/ 6973454 h 6973454"/>
              <a:gd name="connsiteX4" fmla="*/ 1150306 w 6268815"/>
              <a:gd name="connsiteY4" fmla="*/ 6753321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678947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593886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121119"/>
              <a:gd name="connsiteY0" fmla="*/ 6939587 h 6984196"/>
              <a:gd name="connsiteX1" fmla="*/ 1160 w 6121119"/>
              <a:gd name="connsiteY1" fmla="*/ 0 h 6984196"/>
              <a:gd name="connsiteX2" fmla="*/ 2593886 w 6121119"/>
              <a:gd name="connsiteY2" fmla="*/ 16933 h 6984196"/>
              <a:gd name="connsiteX3" fmla="*/ 6121119 w 6121119"/>
              <a:gd name="connsiteY3" fmla="*/ 6984196 h 6984196"/>
              <a:gd name="connsiteX4" fmla="*/ 0 w 6121119"/>
              <a:gd name="connsiteY4" fmla="*/ 693958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592729 w 6119962"/>
              <a:gd name="connsiteY2" fmla="*/ 16933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624626 w 6119962"/>
              <a:gd name="connsiteY2" fmla="*/ 70647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20112 w 6098700"/>
              <a:gd name="connsiteY0" fmla="*/ 6939587 h 6941226"/>
              <a:gd name="connsiteX1" fmla="*/ 6 w 6098700"/>
              <a:gd name="connsiteY1" fmla="*/ 0 h 6941226"/>
              <a:gd name="connsiteX2" fmla="*/ 2603364 w 6098700"/>
              <a:gd name="connsiteY2" fmla="*/ 27677 h 6941226"/>
              <a:gd name="connsiteX3" fmla="*/ 6098700 w 6098700"/>
              <a:gd name="connsiteY3" fmla="*/ 6941226 h 6941226"/>
              <a:gd name="connsiteX4" fmla="*/ 20112 w 6098700"/>
              <a:gd name="connsiteY4" fmla="*/ 6939587 h 6941226"/>
              <a:gd name="connsiteX0" fmla="*/ 0 w 6121119"/>
              <a:gd name="connsiteY0" fmla="*/ 6918102 h 6941226"/>
              <a:gd name="connsiteX1" fmla="*/ 22425 w 6121119"/>
              <a:gd name="connsiteY1" fmla="*/ 0 h 6941226"/>
              <a:gd name="connsiteX2" fmla="*/ 2625783 w 6121119"/>
              <a:gd name="connsiteY2" fmla="*/ 27677 h 6941226"/>
              <a:gd name="connsiteX3" fmla="*/ 6121119 w 6121119"/>
              <a:gd name="connsiteY3" fmla="*/ 6941226 h 6941226"/>
              <a:gd name="connsiteX4" fmla="*/ 0 w 6121119"/>
              <a:gd name="connsiteY4" fmla="*/ 6918102 h 6941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1119" h="6941226">
                <a:moveTo>
                  <a:pt x="0" y="6918102"/>
                </a:moveTo>
                <a:cubicBezTo>
                  <a:pt x="387" y="4604906"/>
                  <a:pt x="22038" y="2313196"/>
                  <a:pt x="22425" y="0"/>
                </a:cubicBezTo>
                <a:lnTo>
                  <a:pt x="2625783" y="27677"/>
                </a:lnTo>
                <a:lnTo>
                  <a:pt x="6121119" y="6941226"/>
                </a:lnTo>
                <a:lnTo>
                  <a:pt x="0" y="6918102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Calibri" charset="0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2"/>
            <a:ext cx="2148810" cy="406841"/>
          </a:xfrm>
          <a:prstGeom prst="rect">
            <a:avLst/>
          </a:prstGeom>
        </p:spPr>
      </p:pic>
      <p:sp>
        <p:nvSpPr>
          <p:cNvPr id="20" name="Right Triangle 19"/>
          <p:cNvSpPr/>
          <p:nvPr userDrawn="1"/>
        </p:nvSpPr>
        <p:spPr>
          <a:xfrm rot="10800000" flipH="1">
            <a:off x="-31295" y="-14286"/>
            <a:ext cx="6738111" cy="3681221"/>
          </a:xfrm>
          <a:custGeom>
            <a:avLst/>
            <a:gdLst>
              <a:gd name="connsiteX0" fmla="*/ 0 w 5913047"/>
              <a:gd name="connsiteY0" fmla="*/ 3980599 h 3980599"/>
              <a:gd name="connsiteX1" fmla="*/ 0 w 5913047"/>
              <a:gd name="connsiteY1" fmla="*/ 0 h 3980599"/>
              <a:gd name="connsiteX2" fmla="*/ 5913047 w 5913047"/>
              <a:gd name="connsiteY2" fmla="*/ 3980599 h 3980599"/>
              <a:gd name="connsiteX3" fmla="*/ 0 w 5913047"/>
              <a:gd name="connsiteY3" fmla="*/ 3980599 h 3980599"/>
              <a:gd name="connsiteX0" fmla="*/ 0 w 6956034"/>
              <a:gd name="connsiteY0" fmla="*/ 3980599 h 3980599"/>
              <a:gd name="connsiteX1" fmla="*/ 0 w 6956034"/>
              <a:gd name="connsiteY1" fmla="*/ 0 h 3980599"/>
              <a:gd name="connsiteX2" fmla="*/ 6956034 w 6956034"/>
              <a:gd name="connsiteY2" fmla="*/ 3894874 h 3980599"/>
              <a:gd name="connsiteX3" fmla="*/ 0 w 6956034"/>
              <a:gd name="connsiteY3" fmla="*/ 3980599 h 3980599"/>
              <a:gd name="connsiteX0" fmla="*/ 14288 w 6956034"/>
              <a:gd name="connsiteY0" fmla="*/ 3909162 h 3909162"/>
              <a:gd name="connsiteX1" fmla="*/ 0 w 6956034"/>
              <a:gd name="connsiteY1" fmla="*/ 0 h 3909162"/>
              <a:gd name="connsiteX2" fmla="*/ 6956034 w 6956034"/>
              <a:gd name="connsiteY2" fmla="*/ 3894874 h 3909162"/>
              <a:gd name="connsiteX3" fmla="*/ 14288 w 6956034"/>
              <a:gd name="connsiteY3" fmla="*/ 3909162 h 3909162"/>
              <a:gd name="connsiteX0" fmla="*/ 634 w 6942380"/>
              <a:gd name="connsiteY0" fmla="*/ 3837724 h 3837724"/>
              <a:gd name="connsiteX1" fmla="*/ 14921 w 6942380"/>
              <a:gd name="connsiteY1" fmla="*/ 0 h 3837724"/>
              <a:gd name="connsiteX2" fmla="*/ 6942380 w 6942380"/>
              <a:gd name="connsiteY2" fmla="*/ 3823436 h 3837724"/>
              <a:gd name="connsiteX3" fmla="*/ 634 w 6942380"/>
              <a:gd name="connsiteY3" fmla="*/ 3837724 h 3837724"/>
              <a:gd name="connsiteX0" fmla="*/ 414 w 6942160"/>
              <a:gd name="connsiteY0" fmla="*/ 3709136 h 3709136"/>
              <a:gd name="connsiteX1" fmla="*/ 28989 w 6942160"/>
              <a:gd name="connsiteY1" fmla="*/ 0 h 3709136"/>
              <a:gd name="connsiteX2" fmla="*/ 6942160 w 6942160"/>
              <a:gd name="connsiteY2" fmla="*/ 3694848 h 3709136"/>
              <a:gd name="connsiteX3" fmla="*/ 414 w 6942160"/>
              <a:gd name="connsiteY3" fmla="*/ 3709136 h 3709136"/>
              <a:gd name="connsiteX0" fmla="*/ 414 w 6942160"/>
              <a:gd name="connsiteY0" fmla="*/ 3751998 h 3751998"/>
              <a:gd name="connsiteX1" fmla="*/ 28989 w 6942160"/>
              <a:gd name="connsiteY1" fmla="*/ 0 h 3751998"/>
              <a:gd name="connsiteX2" fmla="*/ 6942160 w 6942160"/>
              <a:gd name="connsiteY2" fmla="*/ 3737710 h 3751998"/>
              <a:gd name="connsiteX3" fmla="*/ 414 w 6942160"/>
              <a:gd name="connsiteY3" fmla="*/ 3751998 h 3751998"/>
              <a:gd name="connsiteX0" fmla="*/ 71438 w 7013184"/>
              <a:gd name="connsiteY0" fmla="*/ 3780573 h 3780573"/>
              <a:gd name="connsiteX1" fmla="*/ 0 w 7013184"/>
              <a:gd name="connsiteY1" fmla="*/ 0 h 3780573"/>
              <a:gd name="connsiteX2" fmla="*/ 7013184 w 7013184"/>
              <a:gd name="connsiteY2" fmla="*/ 3766285 h 3780573"/>
              <a:gd name="connsiteX3" fmla="*/ 71438 w 7013184"/>
              <a:gd name="connsiteY3" fmla="*/ 3780573 h 3780573"/>
              <a:gd name="connsiteX0" fmla="*/ 1374 w 7014558"/>
              <a:gd name="connsiteY0" fmla="*/ 3780573 h 3780573"/>
              <a:gd name="connsiteX1" fmla="*/ 1374 w 7014558"/>
              <a:gd name="connsiteY1" fmla="*/ 0 h 3780573"/>
              <a:gd name="connsiteX2" fmla="*/ 7014558 w 7014558"/>
              <a:gd name="connsiteY2" fmla="*/ 3766285 h 3780573"/>
              <a:gd name="connsiteX3" fmla="*/ 1374 w 7014558"/>
              <a:gd name="connsiteY3" fmla="*/ 3780573 h 3780573"/>
              <a:gd name="connsiteX0" fmla="*/ 1374 w 6334075"/>
              <a:gd name="connsiteY0" fmla="*/ 3780573 h 3798182"/>
              <a:gd name="connsiteX1" fmla="*/ 1374 w 6334075"/>
              <a:gd name="connsiteY1" fmla="*/ 0 h 3798182"/>
              <a:gd name="connsiteX2" fmla="*/ 6334075 w 6334075"/>
              <a:gd name="connsiteY2" fmla="*/ 3798182 h 3798182"/>
              <a:gd name="connsiteX3" fmla="*/ 1374 w 6334075"/>
              <a:gd name="connsiteY3" fmla="*/ 3780573 h 3798182"/>
              <a:gd name="connsiteX0" fmla="*/ 1374 w 5058168"/>
              <a:gd name="connsiteY0" fmla="*/ 3780573 h 3883242"/>
              <a:gd name="connsiteX1" fmla="*/ 1374 w 5058168"/>
              <a:gd name="connsiteY1" fmla="*/ 0 h 3883242"/>
              <a:gd name="connsiteX2" fmla="*/ 5058168 w 5058168"/>
              <a:gd name="connsiteY2" fmla="*/ 3883242 h 3883242"/>
              <a:gd name="connsiteX3" fmla="*/ 1374 w 5058168"/>
              <a:gd name="connsiteY3" fmla="*/ 3780573 h 3883242"/>
              <a:gd name="connsiteX0" fmla="*/ 1374 w 3750363"/>
              <a:gd name="connsiteY0" fmla="*/ 3780573 h 3989567"/>
              <a:gd name="connsiteX1" fmla="*/ 1374 w 3750363"/>
              <a:gd name="connsiteY1" fmla="*/ 0 h 3989567"/>
              <a:gd name="connsiteX2" fmla="*/ 3750363 w 3750363"/>
              <a:gd name="connsiteY2" fmla="*/ 3989567 h 3989567"/>
              <a:gd name="connsiteX3" fmla="*/ 1374 w 3750363"/>
              <a:gd name="connsiteY3" fmla="*/ 3780573 h 3989567"/>
              <a:gd name="connsiteX0" fmla="*/ 1374 w 5515368"/>
              <a:gd name="connsiteY0" fmla="*/ 3780573 h 3780573"/>
              <a:gd name="connsiteX1" fmla="*/ 1374 w 5515368"/>
              <a:gd name="connsiteY1" fmla="*/ 0 h 3780573"/>
              <a:gd name="connsiteX2" fmla="*/ 5515368 w 5515368"/>
              <a:gd name="connsiteY2" fmla="*/ 3745018 h 3780573"/>
              <a:gd name="connsiteX3" fmla="*/ 1374 w 5515368"/>
              <a:gd name="connsiteY3" fmla="*/ 3780573 h 3780573"/>
              <a:gd name="connsiteX0" fmla="*/ 1374 w 7429229"/>
              <a:gd name="connsiteY0" fmla="*/ 3780573 h 3780573"/>
              <a:gd name="connsiteX1" fmla="*/ 1374 w 7429229"/>
              <a:gd name="connsiteY1" fmla="*/ 0 h 3780573"/>
              <a:gd name="connsiteX2" fmla="*/ 7429229 w 7429229"/>
              <a:gd name="connsiteY2" fmla="*/ 3766283 h 3780573"/>
              <a:gd name="connsiteX3" fmla="*/ 1374 w 7429229"/>
              <a:gd name="connsiteY3" fmla="*/ 3780573 h 3780573"/>
              <a:gd name="connsiteX0" fmla="*/ 735 w 7428590"/>
              <a:gd name="connsiteY0" fmla="*/ 4003857 h 4003857"/>
              <a:gd name="connsiteX1" fmla="*/ 11367 w 7428590"/>
              <a:gd name="connsiteY1" fmla="*/ 0 h 4003857"/>
              <a:gd name="connsiteX2" fmla="*/ 7428590 w 7428590"/>
              <a:gd name="connsiteY2" fmla="*/ 3989567 h 4003857"/>
              <a:gd name="connsiteX3" fmla="*/ 735 w 7428590"/>
              <a:gd name="connsiteY3" fmla="*/ 4003857 h 4003857"/>
              <a:gd name="connsiteX0" fmla="*/ 1376 w 7418598"/>
              <a:gd name="connsiteY0" fmla="*/ 3855001 h 3989567"/>
              <a:gd name="connsiteX1" fmla="*/ 1375 w 7418598"/>
              <a:gd name="connsiteY1" fmla="*/ 0 h 3989567"/>
              <a:gd name="connsiteX2" fmla="*/ 7418598 w 7418598"/>
              <a:gd name="connsiteY2" fmla="*/ 3989567 h 3989567"/>
              <a:gd name="connsiteX3" fmla="*/ 1376 w 7418598"/>
              <a:gd name="connsiteY3" fmla="*/ 3855001 h 3989567"/>
              <a:gd name="connsiteX0" fmla="*/ 10634 w 7417223"/>
              <a:gd name="connsiteY0" fmla="*/ 3971960 h 3989567"/>
              <a:gd name="connsiteX1" fmla="*/ 0 w 7417223"/>
              <a:gd name="connsiteY1" fmla="*/ 0 h 3989567"/>
              <a:gd name="connsiteX2" fmla="*/ 7417223 w 7417223"/>
              <a:gd name="connsiteY2" fmla="*/ 3989567 h 3989567"/>
              <a:gd name="connsiteX3" fmla="*/ 10634 w 7417223"/>
              <a:gd name="connsiteY3" fmla="*/ 3971960 h 3989567"/>
              <a:gd name="connsiteX0" fmla="*/ 10634 w 6417762"/>
              <a:gd name="connsiteY0" fmla="*/ 3971960 h 3971960"/>
              <a:gd name="connsiteX1" fmla="*/ 0 w 6417762"/>
              <a:gd name="connsiteY1" fmla="*/ 0 h 3971960"/>
              <a:gd name="connsiteX2" fmla="*/ 6417762 w 6417762"/>
              <a:gd name="connsiteY2" fmla="*/ 3649325 h 3971960"/>
              <a:gd name="connsiteX3" fmla="*/ 10634 w 6417762"/>
              <a:gd name="connsiteY3" fmla="*/ 3971960 h 3971960"/>
              <a:gd name="connsiteX0" fmla="*/ 10634 w 5822339"/>
              <a:gd name="connsiteY0" fmla="*/ 3971960 h 3971960"/>
              <a:gd name="connsiteX1" fmla="*/ 0 w 5822339"/>
              <a:gd name="connsiteY1" fmla="*/ 0 h 3971960"/>
              <a:gd name="connsiteX2" fmla="*/ 5822339 w 5822339"/>
              <a:gd name="connsiteY2" fmla="*/ 2713660 h 3971960"/>
              <a:gd name="connsiteX3" fmla="*/ 10634 w 5822339"/>
              <a:gd name="connsiteY3" fmla="*/ 3971960 h 3971960"/>
              <a:gd name="connsiteX0" fmla="*/ 10634 w 6991920"/>
              <a:gd name="connsiteY0" fmla="*/ 3971960 h 3978934"/>
              <a:gd name="connsiteX1" fmla="*/ 0 w 6991920"/>
              <a:gd name="connsiteY1" fmla="*/ 0 h 3978934"/>
              <a:gd name="connsiteX2" fmla="*/ 6991920 w 6991920"/>
              <a:gd name="connsiteY2" fmla="*/ 3978934 h 3978934"/>
              <a:gd name="connsiteX3" fmla="*/ 10634 w 6991920"/>
              <a:gd name="connsiteY3" fmla="*/ 3971960 h 3978934"/>
              <a:gd name="connsiteX0" fmla="*/ 10634 w 6736738"/>
              <a:gd name="connsiteY0" fmla="*/ 3971960 h 3989566"/>
              <a:gd name="connsiteX1" fmla="*/ 0 w 6736738"/>
              <a:gd name="connsiteY1" fmla="*/ 0 h 3989566"/>
              <a:gd name="connsiteX2" fmla="*/ 6736738 w 6736738"/>
              <a:gd name="connsiteY2" fmla="*/ 3989566 h 3989566"/>
              <a:gd name="connsiteX3" fmla="*/ 10634 w 6736738"/>
              <a:gd name="connsiteY3" fmla="*/ 3971960 h 3989566"/>
              <a:gd name="connsiteX0" fmla="*/ 42532 w 6768636"/>
              <a:gd name="connsiteY0" fmla="*/ 3663615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42532 w 6768636"/>
              <a:gd name="connsiteY3" fmla="*/ 3663615 h 3681221"/>
              <a:gd name="connsiteX0" fmla="*/ 21267 w 6768636"/>
              <a:gd name="connsiteY0" fmla="*/ 3674248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21267 w 6768636"/>
              <a:gd name="connsiteY3" fmla="*/ 3674248 h 3681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68636" h="3681221">
                <a:moveTo>
                  <a:pt x="21267" y="3674248"/>
                </a:moveTo>
                <a:cubicBezTo>
                  <a:pt x="16504" y="2371194"/>
                  <a:pt x="4763" y="1303054"/>
                  <a:pt x="0" y="0"/>
                </a:cubicBezTo>
                <a:lnTo>
                  <a:pt x="6768636" y="3681221"/>
                </a:lnTo>
                <a:lnTo>
                  <a:pt x="21267" y="3674248"/>
                </a:lnTo>
                <a:close/>
              </a:path>
            </a:pathLst>
          </a:custGeom>
          <a:solidFill>
            <a:srgbClr val="00395A"/>
          </a:solidFill>
          <a:ln>
            <a:noFill/>
          </a:ln>
          <a:effectLst>
            <a:outerShdw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endParaRPr lang="en-US">
              <a:solidFill>
                <a:prstClr val="white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creen 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1395" cy="7187659"/>
          </a:xfrm>
          <a:prstGeom prst="rect">
            <a:avLst/>
          </a:prstGeom>
          <a:solidFill>
            <a:srgbClr val="B521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Divider Screen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9536"/>
            <a:ext cx="2125014" cy="402336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creen 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-42204"/>
            <a:ext cx="12191395" cy="6886576"/>
          </a:xfrm>
          <a:prstGeom prst="rect">
            <a:avLst/>
          </a:prstGeom>
          <a:solidFill>
            <a:srgbClr val="003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Divider Screen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9536"/>
            <a:ext cx="2125014" cy="402336"/>
          </a:xfrm>
          <a:prstGeom prst="rect">
            <a:avLst/>
          </a:prstGeom>
          <a:noFill/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utlin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>
            <a:normAutofit/>
          </a:bodyPr>
          <a:lstStyle>
            <a:lvl1pPr>
              <a:lnSpc>
                <a:spcPct val="100000"/>
              </a:lnSpc>
              <a:defRPr sz="2800" b="0" i="0">
                <a:solidFill>
                  <a:srgbClr val="B5217E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ontent Head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lnSpc>
                <a:spcPct val="150000"/>
              </a:lnSpc>
              <a:defRPr sz="24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spum</a:t>
            </a:r>
            <a:r>
              <a:rPr lang="en-US" dirty="0"/>
              <a:t> dolor</a:t>
            </a:r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</a:t>
            </a:r>
            <a:endParaRPr lang="en-US" dirty="0"/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9493" y="6214173"/>
            <a:ext cx="2148810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creen Blue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apezoid 11"/>
          <p:cNvSpPr/>
          <p:nvPr userDrawn="1"/>
        </p:nvSpPr>
        <p:spPr>
          <a:xfrm>
            <a:off x="-31294" y="-1484"/>
            <a:ext cx="6121119" cy="6870116"/>
          </a:xfrm>
          <a:custGeom>
            <a:avLst/>
            <a:gdLst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254681 w 4339575"/>
              <a:gd name="connsiteY2" fmla="*/ 0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305481 w 4339575"/>
              <a:gd name="connsiteY2" fmla="*/ 135466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1150306 w 5489881"/>
              <a:gd name="connsiteY0" fmla="*/ 6888789 h 6888789"/>
              <a:gd name="connsiteX1" fmla="*/ 0 w 5489881"/>
              <a:gd name="connsiteY1" fmla="*/ 135468 h 6888789"/>
              <a:gd name="connsiteX2" fmla="*/ 4455787 w 5489881"/>
              <a:gd name="connsiteY2" fmla="*/ 0 h 6888789"/>
              <a:gd name="connsiteX3" fmla="*/ 5489881 w 5489881"/>
              <a:gd name="connsiteY3" fmla="*/ 6888789 h 6888789"/>
              <a:gd name="connsiteX4" fmla="*/ 1150306 w 5489881"/>
              <a:gd name="connsiteY4" fmla="*/ 6888789 h 6888789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4472720 w 5489881"/>
              <a:gd name="connsiteY2" fmla="*/ 33865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389920 w 5489881"/>
              <a:gd name="connsiteY2" fmla="*/ 50799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728587 w 5489881"/>
              <a:gd name="connsiteY2" fmla="*/ 33866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87188 h 6787188"/>
              <a:gd name="connsiteX1" fmla="*/ 0 w 5489881"/>
              <a:gd name="connsiteY1" fmla="*/ 33867 h 6787188"/>
              <a:gd name="connsiteX2" fmla="*/ 2711654 w 5489881"/>
              <a:gd name="connsiteY2" fmla="*/ 0 h 6787188"/>
              <a:gd name="connsiteX3" fmla="*/ 5489881 w 5489881"/>
              <a:gd name="connsiteY3" fmla="*/ 6787188 h 6787188"/>
              <a:gd name="connsiteX4" fmla="*/ 1150306 w 5489881"/>
              <a:gd name="connsiteY4" fmla="*/ 6787188 h 6787188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677787 w 5489881"/>
              <a:gd name="connsiteY2" fmla="*/ 16933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6268815"/>
              <a:gd name="connsiteY0" fmla="*/ 6753321 h 6973454"/>
              <a:gd name="connsiteX1" fmla="*/ 0 w 6268815"/>
              <a:gd name="connsiteY1" fmla="*/ 0 h 6973454"/>
              <a:gd name="connsiteX2" fmla="*/ 2677787 w 6268815"/>
              <a:gd name="connsiteY2" fmla="*/ 16933 h 6973454"/>
              <a:gd name="connsiteX3" fmla="*/ 6268815 w 6268815"/>
              <a:gd name="connsiteY3" fmla="*/ 6973454 h 6973454"/>
              <a:gd name="connsiteX4" fmla="*/ 1150306 w 6268815"/>
              <a:gd name="connsiteY4" fmla="*/ 6753321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678947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593886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121119"/>
              <a:gd name="connsiteY0" fmla="*/ 6939587 h 6984196"/>
              <a:gd name="connsiteX1" fmla="*/ 1160 w 6121119"/>
              <a:gd name="connsiteY1" fmla="*/ 0 h 6984196"/>
              <a:gd name="connsiteX2" fmla="*/ 2593886 w 6121119"/>
              <a:gd name="connsiteY2" fmla="*/ 16933 h 6984196"/>
              <a:gd name="connsiteX3" fmla="*/ 6121119 w 6121119"/>
              <a:gd name="connsiteY3" fmla="*/ 6984196 h 6984196"/>
              <a:gd name="connsiteX4" fmla="*/ 0 w 6121119"/>
              <a:gd name="connsiteY4" fmla="*/ 693958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592729 w 6119962"/>
              <a:gd name="connsiteY2" fmla="*/ 16933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624626 w 6119962"/>
              <a:gd name="connsiteY2" fmla="*/ 70647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20112 w 6098700"/>
              <a:gd name="connsiteY0" fmla="*/ 6939587 h 6941226"/>
              <a:gd name="connsiteX1" fmla="*/ 6 w 6098700"/>
              <a:gd name="connsiteY1" fmla="*/ 0 h 6941226"/>
              <a:gd name="connsiteX2" fmla="*/ 2603364 w 6098700"/>
              <a:gd name="connsiteY2" fmla="*/ 27677 h 6941226"/>
              <a:gd name="connsiteX3" fmla="*/ 6098700 w 6098700"/>
              <a:gd name="connsiteY3" fmla="*/ 6941226 h 6941226"/>
              <a:gd name="connsiteX4" fmla="*/ 20112 w 6098700"/>
              <a:gd name="connsiteY4" fmla="*/ 6939587 h 6941226"/>
              <a:gd name="connsiteX0" fmla="*/ 0 w 6121119"/>
              <a:gd name="connsiteY0" fmla="*/ 6918102 h 6941226"/>
              <a:gd name="connsiteX1" fmla="*/ 22425 w 6121119"/>
              <a:gd name="connsiteY1" fmla="*/ 0 h 6941226"/>
              <a:gd name="connsiteX2" fmla="*/ 2625783 w 6121119"/>
              <a:gd name="connsiteY2" fmla="*/ 27677 h 6941226"/>
              <a:gd name="connsiteX3" fmla="*/ 6121119 w 6121119"/>
              <a:gd name="connsiteY3" fmla="*/ 6941226 h 6941226"/>
              <a:gd name="connsiteX4" fmla="*/ 0 w 6121119"/>
              <a:gd name="connsiteY4" fmla="*/ 6918102 h 6941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1119" h="6941226">
                <a:moveTo>
                  <a:pt x="0" y="6918102"/>
                </a:moveTo>
                <a:cubicBezTo>
                  <a:pt x="387" y="4604906"/>
                  <a:pt x="22038" y="2313196"/>
                  <a:pt x="22425" y="0"/>
                </a:cubicBezTo>
                <a:lnTo>
                  <a:pt x="2625783" y="27677"/>
                </a:lnTo>
                <a:lnTo>
                  <a:pt x="6121119" y="6941226"/>
                </a:lnTo>
                <a:lnTo>
                  <a:pt x="0" y="6918102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+mn-lt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2"/>
            <a:ext cx="2148810" cy="406841"/>
          </a:xfrm>
          <a:prstGeom prst="rect">
            <a:avLst/>
          </a:prstGeom>
        </p:spPr>
      </p:pic>
      <p:sp>
        <p:nvSpPr>
          <p:cNvPr id="20" name="Right Triangle 19"/>
          <p:cNvSpPr/>
          <p:nvPr userDrawn="1"/>
        </p:nvSpPr>
        <p:spPr>
          <a:xfrm rot="10800000" flipH="1">
            <a:off x="-31295" y="-14286"/>
            <a:ext cx="6738111" cy="3681221"/>
          </a:xfrm>
          <a:custGeom>
            <a:avLst/>
            <a:gdLst>
              <a:gd name="connsiteX0" fmla="*/ 0 w 5913047"/>
              <a:gd name="connsiteY0" fmla="*/ 3980599 h 3980599"/>
              <a:gd name="connsiteX1" fmla="*/ 0 w 5913047"/>
              <a:gd name="connsiteY1" fmla="*/ 0 h 3980599"/>
              <a:gd name="connsiteX2" fmla="*/ 5913047 w 5913047"/>
              <a:gd name="connsiteY2" fmla="*/ 3980599 h 3980599"/>
              <a:gd name="connsiteX3" fmla="*/ 0 w 5913047"/>
              <a:gd name="connsiteY3" fmla="*/ 3980599 h 3980599"/>
              <a:gd name="connsiteX0" fmla="*/ 0 w 6956034"/>
              <a:gd name="connsiteY0" fmla="*/ 3980599 h 3980599"/>
              <a:gd name="connsiteX1" fmla="*/ 0 w 6956034"/>
              <a:gd name="connsiteY1" fmla="*/ 0 h 3980599"/>
              <a:gd name="connsiteX2" fmla="*/ 6956034 w 6956034"/>
              <a:gd name="connsiteY2" fmla="*/ 3894874 h 3980599"/>
              <a:gd name="connsiteX3" fmla="*/ 0 w 6956034"/>
              <a:gd name="connsiteY3" fmla="*/ 3980599 h 3980599"/>
              <a:gd name="connsiteX0" fmla="*/ 14288 w 6956034"/>
              <a:gd name="connsiteY0" fmla="*/ 3909162 h 3909162"/>
              <a:gd name="connsiteX1" fmla="*/ 0 w 6956034"/>
              <a:gd name="connsiteY1" fmla="*/ 0 h 3909162"/>
              <a:gd name="connsiteX2" fmla="*/ 6956034 w 6956034"/>
              <a:gd name="connsiteY2" fmla="*/ 3894874 h 3909162"/>
              <a:gd name="connsiteX3" fmla="*/ 14288 w 6956034"/>
              <a:gd name="connsiteY3" fmla="*/ 3909162 h 3909162"/>
              <a:gd name="connsiteX0" fmla="*/ 634 w 6942380"/>
              <a:gd name="connsiteY0" fmla="*/ 3837724 h 3837724"/>
              <a:gd name="connsiteX1" fmla="*/ 14921 w 6942380"/>
              <a:gd name="connsiteY1" fmla="*/ 0 h 3837724"/>
              <a:gd name="connsiteX2" fmla="*/ 6942380 w 6942380"/>
              <a:gd name="connsiteY2" fmla="*/ 3823436 h 3837724"/>
              <a:gd name="connsiteX3" fmla="*/ 634 w 6942380"/>
              <a:gd name="connsiteY3" fmla="*/ 3837724 h 3837724"/>
              <a:gd name="connsiteX0" fmla="*/ 414 w 6942160"/>
              <a:gd name="connsiteY0" fmla="*/ 3709136 h 3709136"/>
              <a:gd name="connsiteX1" fmla="*/ 28989 w 6942160"/>
              <a:gd name="connsiteY1" fmla="*/ 0 h 3709136"/>
              <a:gd name="connsiteX2" fmla="*/ 6942160 w 6942160"/>
              <a:gd name="connsiteY2" fmla="*/ 3694848 h 3709136"/>
              <a:gd name="connsiteX3" fmla="*/ 414 w 6942160"/>
              <a:gd name="connsiteY3" fmla="*/ 3709136 h 3709136"/>
              <a:gd name="connsiteX0" fmla="*/ 414 w 6942160"/>
              <a:gd name="connsiteY0" fmla="*/ 3751998 h 3751998"/>
              <a:gd name="connsiteX1" fmla="*/ 28989 w 6942160"/>
              <a:gd name="connsiteY1" fmla="*/ 0 h 3751998"/>
              <a:gd name="connsiteX2" fmla="*/ 6942160 w 6942160"/>
              <a:gd name="connsiteY2" fmla="*/ 3737710 h 3751998"/>
              <a:gd name="connsiteX3" fmla="*/ 414 w 6942160"/>
              <a:gd name="connsiteY3" fmla="*/ 3751998 h 3751998"/>
              <a:gd name="connsiteX0" fmla="*/ 71438 w 7013184"/>
              <a:gd name="connsiteY0" fmla="*/ 3780573 h 3780573"/>
              <a:gd name="connsiteX1" fmla="*/ 0 w 7013184"/>
              <a:gd name="connsiteY1" fmla="*/ 0 h 3780573"/>
              <a:gd name="connsiteX2" fmla="*/ 7013184 w 7013184"/>
              <a:gd name="connsiteY2" fmla="*/ 3766285 h 3780573"/>
              <a:gd name="connsiteX3" fmla="*/ 71438 w 7013184"/>
              <a:gd name="connsiteY3" fmla="*/ 3780573 h 3780573"/>
              <a:gd name="connsiteX0" fmla="*/ 1374 w 7014558"/>
              <a:gd name="connsiteY0" fmla="*/ 3780573 h 3780573"/>
              <a:gd name="connsiteX1" fmla="*/ 1374 w 7014558"/>
              <a:gd name="connsiteY1" fmla="*/ 0 h 3780573"/>
              <a:gd name="connsiteX2" fmla="*/ 7014558 w 7014558"/>
              <a:gd name="connsiteY2" fmla="*/ 3766285 h 3780573"/>
              <a:gd name="connsiteX3" fmla="*/ 1374 w 7014558"/>
              <a:gd name="connsiteY3" fmla="*/ 3780573 h 3780573"/>
              <a:gd name="connsiteX0" fmla="*/ 1374 w 6334075"/>
              <a:gd name="connsiteY0" fmla="*/ 3780573 h 3798182"/>
              <a:gd name="connsiteX1" fmla="*/ 1374 w 6334075"/>
              <a:gd name="connsiteY1" fmla="*/ 0 h 3798182"/>
              <a:gd name="connsiteX2" fmla="*/ 6334075 w 6334075"/>
              <a:gd name="connsiteY2" fmla="*/ 3798182 h 3798182"/>
              <a:gd name="connsiteX3" fmla="*/ 1374 w 6334075"/>
              <a:gd name="connsiteY3" fmla="*/ 3780573 h 3798182"/>
              <a:gd name="connsiteX0" fmla="*/ 1374 w 5058168"/>
              <a:gd name="connsiteY0" fmla="*/ 3780573 h 3883242"/>
              <a:gd name="connsiteX1" fmla="*/ 1374 w 5058168"/>
              <a:gd name="connsiteY1" fmla="*/ 0 h 3883242"/>
              <a:gd name="connsiteX2" fmla="*/ 5058168 w 5058168"/>
              <a:gd name="connsiteY2" fmla="*/ 3883242 h 3883242"/>
              <a:gd name="connsiteX3" fmla="*/ 1374 w 5058168"/>
              <a:gd name="connsiteY3" fmla="*/ 3780573 h 3883242"/>
              <a:gd name="connsiteX0" fmla="*/ 1374 w 3750363"/>
              <a:gd name="connsiteY0" fmla="*/ 3780573 h 3989567"/>
              <a:gd name="connsiteX1" fmla="*/ 1374 w 3750363"/>
              <a:gd name="connsiteY1" fmla="*/ 0 h 3989567"/>
              <a:gd name="connsiteX2" fmla="*/ 3750363 w 3750363"/>
              <a:gd name="connsiteY2" fmla="*/ 3989567 h 3989567"/>
              <a:gd name="connsiteX3" fmla="*/ 1374 w 3750363"/>
              <a:gd name="connsiteY3" fmla="*/ 3780573 h 3989567"/>
              <a:gd name="connsiteX0" fmla="*/ 1374 w 5515368"/>
              <a:gd name="connsiteY0" fmla="*/ 3780573 h 3780573"/>
              <a:gd name="connsiteX1" fmla="*/ 1374 w 5515368"/>
              <a:gd name="connsiteY1" fmla="*/ 0 h 3780573"/>
              <a:gd name="connsiteX2" fmla="*/ 5515368 w 5515368"/>
              <a:gd name="connsiteY2" fmla="*/ 3745018 h 3780573"/>
              <a:gd name="connsiteX3" fmla="*/ 1374 w 5515368"/>
              <a:gd name="connsiteY3" fmla="*/ 3780573 h 3780573"/>
              <a:gd name="connsiteX0" fmla="*/ 1374 w 7429229"/>
              <a:gd name="connsiteY0" fmla="*/ 3780573 h 3780573"/>
              <a:gd name="connsiteX1" fmla="*/ 1374 w 7429229"/>
              <a:gd name="connsiteY1" fmla="*/ 0 h 3780573"/>
              <a:gd name="connsiteX2" fmla="*/ 7429229 w 7429229"/>
              <a:gd name="connsiteY2" fmla="*/ 3766283 h 3780573"/>
              <a:gd name="connsiteX3" fmla="*/ 1374 w 7429229"/>
              <a:gd name="connsiteY3" fmla="*/ 3780573 h 3780573"/>
              <a:gd name="connsiteX0" fmla="*/ 735 w 7428590"/>
              <a:gd name="connsiteY0" fmla="*/ 4003857 h 4003857"/>
              <a:gd name="connsiteX1" fmla="*/ 11367 w 7428590"/>
              <a:gd name="connsiteY1" fmla="*/ 0 h 4003857"/>
              <a:gd name="connsiteX2" fmla="*/ 7428590 w 7428590"/>
              <a:gd name="connsiteY2" fmla="*/ 3989567 h 4003857"/>
              <a:gd name="connsiteX3" fmla="*/ 735 w 7428590"/>
              <a:gd name="connsiteY3" fmla="*/ 4003857 h 4003857"/>
              <a:gd name="connsiteX0" fmla="*/ 1376 w 7418598"/>
              <a:gd name="connsiteY0" fmla="*/ 3855001 h 3989567"/>
              <a:gd name="connsiteX1" fmla="*/ 1375 w 7418598"/>
              <a:gd name="connsiteY1" fmla="*/ 0 h 3989567"/>
              <a:gd name="connsiteX2" fmla="*/ 7418598 w 7418598"/>
              <a:gd name="connsiteY2" fmla="*/ 3989567 h 3989567"/>
              <a:gd name="connsiteX3" fmla="*/ 1376 w 7418598"/>
              <a:gd name="connsiteY3" fmla="*/ 3855001 h 3989567"/>
              <a:gd name="connsiteX0" fmla="*/ 10634 w 7417223"/>
              <a:gd name="connsiteY0" fmla="*/ 3971960 h 3989567"/>
              <a:gd name="connsiteX1" fmla="*/ 0 w 7417223"/>
              <a:gd name="connsiteY1" fmla="*/ 0 h 3989567"/>
              <a:gd name="connsiteX2" fmla="*/ 7417223 w 7417223"/>
              <a:gd name="connsiteY2" fmla="*/ 3989567 h 3989567"/>
              <a:gd name="connsiteX3" fmla="*/ 10634 w 7417223"/>
              <a:gd name="connsiteY3" fmla="*/ 3971960 h 3989567"/>
              <a:gd name="connsiteX0" fmla="*/ 10634 w 6417762"/>
              <a:gd name="connsiteY0" fmla="*/ 3971960 h 3971960"/>
              <a:gd name="connsiteX1" fmla="*/ 0 w 6417762"/>
              <a:gd name="connsiteY1" fmla="*/ 0 h 3971960"/>
              <a:gd name="connsiteX2" fmla="*/ 6417762 w 6417762"/>
              <a:gd name="connsiteY2" fmla="*/ 3649325 h 3971960"/>
              <a:gd name="connsiteX3" fmla="*/ 10634 w 6417762"/>
              <a:gd name="connsiteY3" fmla="*/ 3971960 h 3971960"/>
              <a:gd name="connsiteX0" fmla="*/ 10634 w 5822339"/>
              <a:gd name="connsiteY0" fmla="*/ 3971960 h 3971960"/>
              <a:gd name="connsiteX1" fmla="*/ 0 w 5822339"/>
              <a:gd name="connsiteY1" fmla="*/ 0 h 3971960"/>
              <a:gd name="connsiteX2" fmla="*/ 5822339 w 5822339"/>
              <a:gd name="connsiteY2" fmla="*/ 2713660 h 3971960"/>
              <a:gd name="connsiteX3" fmla="*/ 10634 w 5822339"/>
              <a:gd name="connsiteY3" fmla="*/ 3971960 h 3971960"/>
              <a:gd name="connsiteX0" fmla="*/ 10634 w 6991920"/>
              <a:gd name="connsiteY0" fmla="*/ 3971960 h 3978934"/>
              <a:gd name="connsiteX1" fmla="*/ 0 w 6991920"/>
              <a:gd name="connsiteY1" fmla="*/ 0 h 3978934"/>
              <a:gd name="connsiteX2" fmla="*/ 6991920 w 6991920"/>
              <a:gd name="connsiteY2" fmla="*/ 3978934 h 3978934"/>
              <a:gd name="connsiteX3" fmla="*/ 10634 w 6991920"/>
              <a:gd name="connsiteY3" fmla="*/ 3971960 h 3978934"/>
              <a:gd name="connsiteX0" fmla="*/ 10634 w 6736738"/>
              <a:gd name="connsiteY0" fmla="*/ 3971960 h 3989566"/>
              <a:gd name="connsiteX1" fmla="*/ 0 w 6736738"/>
              <a:gd name="connsiteY1" fmla="*/ 0 h 3989566"/>
              <a:gd name="connsiteX2" fmla="*/ 6736738 w 6736738"/>
              <a:gd name="connsiteY2" fmla="*/ 3989566 h 3989566"/>
              <a:gd name="connsiteX3" fmla="*/ 10634 w 6736738"/>
              <a:gd name="connsiteY3" fmla="*/ 3971960 h 3989566"/>
              <a:gd name="connsiteX0" fmla="*/ 42532 w 6768636"/>
              <a:gd name="connsiteY0" fmla="*/ 3663615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42532 w 6768636"/>
              <a:gd name="connsiteY3" fmla="*/ 3663615 h 3681221"/>
              <a:gd name="connsiteX0" fmla="*/ 21267 w 6768636"/>
              <a:gd name="connsiteY0" fmla="*/ 3674248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21267 w 6768636"/>
              <a:gd name="connsiteY3" fmla="*/ 3674248 h 3681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68636" h="3681221">
                <a:moveTo>
                  <a:pt x="21267" y="3674248"/>
                </a:moveTo>
                <a:cubicBezTo>
                  <a:pt x="16504" y="2371194"/>
                  <a:pt x="4763" y="1303054"/>
                  <a:pt x="0" y="0"/>
                </a:cubicBezTo>
                <a:lnTo>
                  <a:pt x="6768636" y="3681221"/>
                </a:lnTo>
                <a:lnTo>
                  <a:pt x="21267" y="3674248"/>
                </a:lnTo>
                <a:close/>
              </a:path>
            </a:pathLst>
          </a:custGeom>
          <a:solidFill>
            <a:srgbClr val="00395A"/>
          </a:solidFill>
          <a:ln>
            <a:noFill/>
          </a:ln>
          <a:effectLst>
            <a:outerShdw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08391" y="4347786"/>
            <a:ext cx="9144000" cy="293957"/>
          </a:xfrm>
        </p:spPr>
        <p:txBody>
          <a:bodyPr>
            <a:normAutofit/>
          </a:bodyPr>
          <a:lstStyle>
            <a:lvl1pPr marL="0" indent="0" algn="r">
              <a:buNone/>
              <a:defRPr sz="1600" baseline="0">
                <a:solidFill>
                  <a:srgbClr val="00395A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Name of Presenter / Job Title / Date</a:t>
            </a:r>
          </a:p>
        </p:txBody>
      </p:sp>
    </p:spTree>
    <p:extLst>
      <p:ext uri="{BB962C8B-B14F-4D97-AF65-F5344CB8AC3E}">
        <p14:creationId xmlns:p14="http://schemas.microsoft.com/office/powerpoint/2010/main" val="1781730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Out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solidFill>
                  <a:srgbClr val="B5217E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ontent Head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4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spum</a:t>
            </a:r>
            <a:r>
              <a:rPr lang="en-US" dirty="0"/>
              <a:t> dolor</a:t>
            </a:r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</a:t>
            </a:r>
            <a:endParaRPr lang="en-US" dirty="0"/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4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spum</a:t>
            </a:r>
            <a:r>
              <a:rPr lang="en-US" dirty="0"/>
              <a:t> dolor</a:t>
            </a:r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</a:t>
            </a:r>
            <a:endParaRPr lang="en-US" dirty="0"/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6311900"/>
            <a:ext cx="2148810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creens Dark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003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6" y="5895601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6" y="457196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946" y="703878"/>
            <a:ext cx="7986713" cy="4900329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creens Light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6" y="5895601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6" y="457196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946" y="703878"/>
            <a:ext cx="7986713" cy="4900329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>
            <a:off x="600075" y="5738436"/>
            <a:ext cx="10972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6351837"/>
            <a:ext cx="2148810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you Screen w/ PS Graphic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7036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www.crownpeak.co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2"/>
            <a:ext cx="2148810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you Screen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/>
          <p:nvPr userDrawn="1"/>
        </p:nvSpPr>
        <p:spPr>
          <a:xfrm>
            <a:off x="605" y="-14288"/>
            <a:ext cx="12191395" cy="6886576"/>
          </a:xfrm>
          <a:custGeom>
            <a:avLst/>
            <a:gdLst>
              <a:gd name="connsiteX0" fmla="*/ 0 w 12191395"/>
              <a:gd name="connsiteY0" fmla="*/ 0 h 6886576"/>
              <a:gd name="connsiteX1" fmla="*/ 12191395 w 12191395"/>
              <a:gd name="connsiteY1" fmla="*/ 0 h 6886576"/>
              <a:gd name="connsiteX2" fmla="*/ 12191395 w 12191395"/>
              <a:gd name="connsiteY2" fmla="*/ 6886576 h 6886576"/>
              <a:gd name="connsiteX3" fmla="*/ 0 w 12191395"/>
              <a:gd name="connsiteY3" fmla="*/ 6886576 h 6886576"/>
              <a:gd name="connsiteX4" fmla="*/ 0 w 12191395"/>
              <a:gd name="connsiteY4" fmla="*/ 0 h 6886576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12191395 w 12191395"/>
              <a:gd name="connsiteY2" fmla="*/ 6900863 h 6900863"/>
              <a:gd name="connsiteX3" fmla="*/ 0 w 12191395"/>
              <a:gd name="connsiteY3" fmla="*/ 6900863 h 6900863"/>
              <a:gd name="connsiteX4" fmla="*/ 0 w 12191395"/>
              <a:gd name="connsiteY4" fmla="*/ 14287 h 6900863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9900633 w 12191395"/>
              <a:gd name="connsiteY2" fmla="*/ 2871788 h 6900863"/>
              <a:gd name="connsiteX3" fmla="*/ 12191395 w 12191395"/>
              <a:gd name="connsiteY3" fmla="*/ 6900863 h 6900863"/>
              <a:gd name="connsiteX4" fmla="*/ 0 w 12191395"/>
              <a:gd name="connsiteY4" fmla="*/ 6900863 h 6900863"/>
              <a:gd name="connsiteX5" fmla="*/ 0 w 12191395"/>
              <a:gd name="connsiteY5" fmla="*/ 14287 h 6900863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12186633 w 12191395"/>
              <a:gd name="connsiteY2" fmla="*/ 2828926 h 6900863"/>
              <a:gd name="connsiteX3" fmla="*/ 12191395 w 12191395"/>
              <a:gd name="connsiteY3" fmla="*/ 6900863 h 6900863"/>
              <a:gd name="connsiteX4" fmla="*/ 0 w 12191395"/>
              <a:gd name="connsiteY4" fmla="*/ 6900863 h 6900863"/>
              <a:gd name="connsiteX5" fmla="*/ 0 w 12191395"/>
              <a:gd name="connsiteY5" fmla="*/ 14287 h 6900863"/>
              <a:gd name="connsiteX0" fmla="*/ 0 w 12191395"/>
              <a:gd name="connsiteY0" fmla="*/ 0 h 6886576"/>
              <a:gd name="connsiteX1" fmla="*/ 7505095 w 12191395"/>
              <a:gd name="connsiteY1" fmla="*/ 14288 h 6886576"/>
              <a:gd name="connsiteX2" fmla="*/ 12186633 w 12191395"/>
              <a:gd name="connsiteY2" fmla="*/ 2814639 h 6886576"/>
              <a:gd name="connsiteX3" fmla="*/ 12191395 w 12191395"/>
              <a:gd name="connsiteY3" fmla="*/ 6886576 h 6886576"/>
              <a:gd name="connsiteX4" fmla="*/ 0 w 12191395"/>
              <a:gd name="connsiteY4" fmla="*/ 6886576 h 6886576"/>
              <a:gd name="connsiteX5" fmla="*/ 0 w 12191395"/>
              <a:gd name="connsiteY5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1395" h="6886576">
                <a:moveTo>
                  <a:pt x="0" y="0"/>
                </a:moveTo>
                <a:lnTo>
                  <a:pt x="7505095" y="14288"/>
                </a:lnTo>
                <a:lnTo>
                  <a:pt x="12186633" y="2814639"/>
                </a:lnTo>
                <a:cubicBezTo>
                  <a:pt x="12188220" y="4171951"/>
                  <a:pt x="12189808" y="5529264"/>
                  <a:pt x="12191395" y="6886576"/>
                </a:cubicBezTo>
                <a:lnTo>
                  <a:pt x="0" y="688657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www.crownpeak.co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2"/>
            <a:ext cx="2148810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95397-5482-F245-8ABB-32E8412BBEE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2569" y="415623"/>
            <a:ext cx="9358602" cy="304699"/>
          </a:xfrm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chemeClr val="accent1"/>
                </a:solidFill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52569" y="134397"/>
            <a:ext cx="9358602" cy="293927"/>
          </a:xfrm>
        </p:spPr>
        <p:txBody>
          <a:bodyPr/>
          <a:lstStyle>
            <a:lvl1pPr>
              <a:defRPr b="1">
                <a:solidFill>
                  <a:srgbClr val="68707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276816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w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2569" y="6364224"/>
            <a:ext cx="0" cy="184666"/>
          </a:xfr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95397-5482-F245-8ABB-32E8412BB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2570" y="415623"/>
            <a:ext cx="9358602" cy="304699"/>
          </a:xfrm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chemeClr val="accent1"/>
                </a:solidFill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52571" y="134400"/>
            <a:ext cx="9358602" cy="293927"/>
          </a:xfrm>
        </p:spPr>
        <p:txBody>
          <a:bodyPr/>
          <a:lstStyle>
            <a:lvl1pPr>
              <a:defRPr b="1">
                <a:solidFill>
                  <a:srgbClr val="68707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276816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 cop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/>
          <p:nvPr/>
        </p:nvSpPr>
        <p:spPr>
          <a:xfrm>
            <a:off x="0" y="22225"/>
            <a:ext cx="12204700" cy="8274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544211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sz="1600">
              <a:solidFill>
                <a:srgbClr val="FFFFFF"/>
              </a:solidFill>
              <a:latin typeface="Neris Light"/>
              <a:sym typeface="Helvetica Light"/>
            </a:endParaRPr>
          </a:p>
        </p:txBody>
      </p:sp>
      <p:sp>
        <p:nvSpPr>
          <p:cNvPr id="48" name="Shape 48"/>
          <p:cNvSpPr>
            <a:spLocks noGrp="1"/>
          </p:cNvSpPr>
          <p:nvPr>
            <p:ph type="sldNum" sz="quarter" idx="2"/>
          </p:nvPr>
        </p:nvSpPr>
        <p:spPr>
          <a:xfrm>
            <a:off x="11648375" y="6390510"/>
            <a:ext cx="179513" cy="17697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algn="ctr">
              <a:defRPr sz="1150" b="0">
                <a:solidFill>
                  <a:srgbClr val="898989"/>
                </a:solidFill>
                <a:latin typeface="Seravek Light"/>
                <a:ea typeface="Seravek Light"/>
                <a:cs typeface="Seravek Light"/>
                <a:sym typeface="Seravek Light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9" name="Shape 49"/>
          <p:cNvSpPr>
            <a:spLocks noGrp="1"/>
          </p:cNvSpPr>
          <p:nvPr>
            <p:ph type="title"/>
          </p:nvPr>
        </p:nvSpPr>
        <p:spPr>
          <a:xfrm>
            <a:off x="453871" y="251806"/>
            <a:ext cx="2092552" cy="36830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900" b="1" cap="all">
                <a:solidFill>
                  <a:srgbClr val="3B3D40"/>
                </a:solidFill>
                <a:latin typeface="Neris Black"/>
                <a:ea typeface="Neris Black"/>
                <a:cs typeface="Neris Black"/>
                <a:sym typeface="Neris Black"/>
              </a:defRPr>
            </a:lvl1pPr>
          </a:lstStyle>
          <a:p>
            <a:pPr lvl="0">
              <a:defRPr sz="1800" b="0" cap="none">
                <a:solidFill>
                  <a:srgbClr val="000000"/>
                </a:solidFill>
              </a:defRPr>
            </a:pPr>
            <a:r>
              <a:rPr sz="1850" b="1" cap="all">
                <a:solidFill>
                  <a:srgbClr val="3B3D40"/>
                </a:solidFill>
              </a:rPr>
              <a:t>Title Text</a:t>
            </a:r>
          </a:p>
        </p:txBody>
      </p:sp>
      <p:sp>
        <p:nvSpPr>
          <p:cNvPr id="9" name="Shape 39"/>
          <p:cNvSpPr/>
          <p:nvPr userDrawn="1"/>
        </p:nvSpPr>
        <p:spPr>
          <a:xfrm>
            <a:off x="1" y="-3175"/>
            <a:ext cx="12204700" cy="59436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75000"/>
                </a:schemeClr>
              </a:gs>
            </a:gsLst>
          </a:gradFill>
          <a:ln w="12700">
            <a:miter lim="400000"/>
          </a:ln>
        </p:spPr>
        <p:txBody>
          <a:bodyPr lIns="0" tIns="0" rIns="0" bIns="0" anchor="ctr"/>
          <a:lstStyle/>
          <a:p>
            <a:pPr algn="ctr" defTabSz="544211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sz="1600">
              <a:solidFill>
                <a:srgbClr val="FFFFFF"/>
              </a:solidFill>
              <a:latin typeface="Neris Light"/>
              <a:sym typeface="Helvetica Light"/>
            </a:endParaRPr>
          </a:p>
        </p:txBody>
      </p:sp>
      <p:pic>
        <p:nvPicPr>
          <p:cNvPr id="10" name="Picture 9" descr="Logo-Full-NoTag-Ligh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5927" y="251806"/>
            <a:ext cx="1771560" cy="315416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creen w/ PS Graphic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68" y="2171"/>
            <a:ext cx="674995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Calibri" charset="0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94" indent="0" algn="ctr">
              <a:buNone/>
              <a:defRPr sz="2000"/>
            </a:lvl2pPr>
            <a:lvl3pPr marL="914389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sp>
        <p:nvSpPr>
          <p:cNvPr id="17" name="Subtitle 2"/>
          <p:cNvSpPr txBox="1">
            <a:spLocks/>
          </p:cNvSpPr>
          <p:nvPr userDrawn="1"/>
        </p:nvSpPr>
        <p:spPr>
          <a:xfrm>
            <a:off x="2916140" y="4351410"/>
            <a:ext cx="9144000" cy="2341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rgbClr val="B5217E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89">
              <a:spcBef>
                <a:spcPts val="1000"/>
              </a:spcBef>
              <a:defRPr/>
            </a:pPr>
            <a:endParaRPr lang="en-US" sz="1600">
              <a:solidFill>
                <a:srgbClr val="00395A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5"/>
            <a:ext cx="2148811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creen Magenta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apezoid 11"/>
          <p:cNvSpPr/>
          <p:nvPr userDrawn="1"/>
        </p:nvSpPr>
        <p:spPr>
          <a:xfrm>
            <a:off x="-31292" y="-1483"/>
            <a:ext cx="6121119" cy="6870116"/>
          </a:xfrm>
          <a:custGeom>
            <a:avLst/>
            <a:gdLst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254681 w 4339575"/>
              <a:gd name="connsiteY2" fmla="*/ 0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305481 w 4339575"/>
              <a:gd name="connsiteY2" fmla="*/ 135466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1150306 w 5489881"/>
              <a:gd name="connsiteY0" fmla="*/ 6888789 h 6888789"/>
              <a:gd name="connsiteX1" fmla="*/ 0 w 5489881"/>
              <a:gd name="connsiteY1" fmla="*/ 135468 h 6888789"/>
              <a:gd name="connsiteX2" fmla="*/ 4455787 w 5489881"/>
              <a:gd name="connsiteY2" fmla="*/ 0 h 6888789"/>
              <a:gd name="connsiteX3" fmla="*/ 5489881 w 5489881"/>
              <a:gd name="connsiteY3" fmla="*/ 6888789 h 6888789"/>
              <a:gd name="connsiteX4" fmla="*/ 1150306 w 5489881"/>
              <a:gd name="connsiteY4" fmla="*/ 6888789 h 6888789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4472720 w 5489881"/>
              <a:gd name="connsiteY2" fmla="*/ 33865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389920 w 5489881"/>
              <a:gd name="connsiteY2" fmla="*/ 50799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728587 w 5489881"/>
              <a:gd name="connsiteY2" fmla="*/ 33866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87188 h 6787188"/>
              <a:gd name="connsiteX1" fmla="*/ 0 w 5489881"/>
              <a:gd name="connsiteY1" fmla="*/ 33867 h 6787188"/>
              <a:gd name="connsiteX2" fmla="*/ 2711654 w 5489881"/>
              <a:gd name="connsiteY2" fmla="*/ 0 h 6787188"/>
              <a:gd name="connsiteX3" fmla="*/ 5489881 w 5489881"/>
              <a:gd name="connsiteY3" fmla="*/ 6787188 h 6787188"/>
              <a:gd name="connsiteX4" fmla="*/ 1150306 w 5489881"/>
              <a:gd name="connsiteY4" fmla="*/ 6787188 h 6787188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677787 w 5489881"/>
              <a:gd name="connsiteY2" fmla="*/ 16933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6268815"/>
              <a:gd name="connsiteY0" fmla="*/ 6753321 h 6973454"/>
              <a:gd name="connsiteX1" fmla="*/ 0 w 6268815"/>
              <a:gd name="connsiteY1" fmla="*/ 0 h 6973454"/>
              <a:gd name="connsiteX2" fmla="*/ 2677787 w 6268815"/>
              <a:gd name="connsiteY2" fmla="*/ 16933 h 6973454"/>
              <a:gd name="connsiteX3" fmla="*/ 6268815 w 6268815"/>
              <a:gd name="connsiteY3" fmla="*/ 6973454 h 6973454"/>
              <a:gd name="connsiteX4" fmla="*/ 1150306 w 6268815"/>
              <a:gd name="connsiteY4" fmla="*/ 6753321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678947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593886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121119"/>
              <a:gd name="connsiteY0" fmla="*/ 6939587 h 6984196"/>
              <a:gd name="connsiteX1" fmla="*/ 1160 w 6121119"/>
              <a:gd name="connsiteY1" fmla="*/ 0 h 6984196"/>
              <a:gd name="connsiteX2" fmla="*/ 2593886 w 6121119"/>
              <a:gd name="connsiteY2" fmla="*/ 16933 h 6984196"/>
              <a:gd name="connsiteX3" fmla="*/ 6121119 w 6121119"/>
              <a:gd name="connsiteY3" fmla="*/ 6984196 h 6984196"/>
              <a:gd name="connsiteX4" fmla="*/ 0 w 6121119"/>
              <a:gd name="connsiteY4" fmla="*/ 693958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592729 w 6119962"/>
              <a:gd name="connsiteY2" fmla="*/ 16933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624626 w 6119962"/>
              <a:gd name="connsiteY2" fmla="*/ 70647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20112 w 6098700"/>
              <a:gd name="connsiteY0" fmla="*/ 6939587 h 6941226"/>
              <a:gd name="connsiteX1" fmla="*/ 6 w 6098700"/>
              <a:gd name="connsiteY1" fmla="*/ 0 h 6941226"/>
              <a:gd name="connsiteX2" fmla="*/ 2603364 w 6098700"/>
              <a:gd name="connsiteY2" fmla="*/ 27677 h 6941226"/>
              <a:gd name="connsiteX3" fmla="*/ 6098700 w 6098700"/>
              <a:gd name="connsiteY3" fmla="*/ 6941226 h 6941226"/>
              <a:gd name="connsiteX4" fmla="*/ 20112 w 6098700"/>
              <a:gd name="connsiteY4" fmla="*/ 6939587 h 6941226"/>
              <a:gd name="connsiteX0" fmla="*/ 0 w 6121119"/>
              <a:gd name="connsiteY0" fmla="*/ 6918102 h 6941226"/>
              <a:gd name="connsiteX1" fmla="*/ 22425 w 6121119"/>
              <a:gd name="connsiteY1" fmla="*/ 0 h 6941226"/>
              <a:gd name="connsiteX2" fmla="*/ 2625783 w 6121119"/>
              <a:gd name="connsiteY2" fmla="*/ 27677 h 6941226"/>
              <a:gd name="connsiteX3" fmla="*/ 6121119 w 6121119"/>
              <a:gd name="connsiteY3" fmla="*/ 6941226 h 6941226"/>
              <a:gd name="connsiteX4" fmla="*/ 0 w 6121119"/>
              <a:gd name="connsiteY4" fmla="*/ 6918102 h 6941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1119" h="6941226">
                <a:moveTo>
                  <a:pt x="0" y="6918102"/>
                </a:moveTo>
                <a:cubicBezTo>
                  <a:pt x="387" y="4604906"/>
                  <a:pt x="22038" y="2313196"/>
                  <a:pt x="22425" y="0"/>
                </a:cubicBezTo>
                <a:lnTo>
                  <a:pt x="2625783" y="27677"/>
                </a:lnTo>
                <a:lnTo>
                  <a:pt x="6121119" y="6941226"/>
                </a:lnTo>
                <a:lnTo>
                  <a:pt x="0" y="6918102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8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Calibri" charset="0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94" indent="0" algn="ctr">
              <a:buNone/>
              <a:defRPr sz="2000"/>
            </a:lvl2pPr>
            <a:lvl3pPr marL="914389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sp>
        <p:nvSpPr>
          <p:cNvPr id="17" name="Subtitle 2"/>
          <p:cNvSpPr txBox="1">
            <a:spLocks/>
          </p:cNvSpPr>
          <p:nvPr userDrawn="1"/>
        </p:nvSpPr>
        <p:spPr>
          <a:xfrm>
            <a:off x="2916140" y="4351410"/>
            <a:ext cx="9144000" cy="2341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rgbClr val="B5217E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89">
              <a:spcBef>
                <a:spcPts val="1000"/>
              </a:spcBef>
              <a:defRPr/>
            </a:pPr>
            <a:endParaRPr lang="en-US" sz="1600">
              <a:solidFill>
                <a:srgbClr val="00395A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5"/>
            <a:ext cx="2148811" cy="406841"/>
          </a:xfrm>
          <a:prstGeom prst="rect">
            <a:avLst/>
          </a:prstGeom>
        </p:spPr>
      </p:pic>
      <p:sp>
        <p:nvSpPr>
          <p:cNvPr id="20" name="Right Triangle 19"/>
          <p:cNvSpPr/>
          <p:nvPr userDrawn="1"/>
        </p:nvSpPr>
        <p:spPr>
          <a:xfrm rot="10800000" flipH="1">
            <a:off x="-31293" y="-14285"/>
            <a:ext cx="6738111" cy="3681221"/>
          </a:xfrm>
          <a:custGeom>
            <a:avLst/>
            <a:gdLst>
              <a:gd name="connsiteX0" fmla="*/ 0 w 5913047"/>
              <a:gd name="connsiteY0" fmla="*/ 3980599 h 3980599"/>
              <a:gd name="connsiteX1" fmla="*/ 0 w 5913047"/>
              <a:gd name="connsiteY1" fmla="*/ 0 h 3980599"/>
              <a:gd name="connsiteX2" fmla="*/ 5913047 w 5913047"/>
              <a:gd name="connsiteY2" fmla="*/ 3980599 h 3980599"/>
              <a:gd name="connsiteX3" fmla="*/ 0 w 5913047"/>
              <a:gd name="connsiteY3" fmla="*/ 3980599 h 3980599"/>
              <a:gd name="connsiteX0" fmla="*/ 0 w 6956034"/>
              <a:gd name="connsiteY0" fmla="*/ 3980599 h 3980599"/>
              <a:gd name="connsiteX1" fmla="*/ 0 w 6956034"/>
              <a:gd name="connsiteY1" fmla="*/ 0 h 3980599"/>
              <a:gd name="connsiteX2" fmla="*/ 6956034 w 6956034"/>
              <a:gd name="connsiteY2" fmla="*/ 3894874 h 3980599"/>
              <a:gd name="connsiteX3" fmla="*/ 0 w 6956034"/>
              <a:gd name="connsiteY3" fmla="*/ 3980599 h 3980599"/>
              <a:gd name="connsiteX0" fmla="*/ 14288 w 6956034"/>
              <a:gd name="connsiteY0" fmla="*/ 3909162 h 3909162"/>
              <a:gd name="connsiteX1" fmla="*/ 0 w 6956034"/>
              <a:gd name="connsiteY1" fmla="*/ 0 h 3909162"/>
              <a:gd name="connsiteX2" fmla="*/ 6956034 w 6956034"/>
              <a:gd name="connsiteY2" fmla="*/ 3894874 h 3909162"/>
              <a:gd name="connsiteX3" fmla="*/ 14288 w 6956034"/>
              <a:gd name="connsiteY3" fmla="*/ 3909162 h 3909162"/>
              <a:gd name="connsiteX0" fmla="*/ 634 w 6942380"/>
              <a:gd name="connsiteY0" fmla="*/ 3837724 h 3837724"/>
              <a:gd name="connsiteX1" fmla="*/ 14921 w 6942380"/>
              <a:gd name="connsiteY1" fmla="*/ 0 h 3837724"/>
              <a:gd name="connsiteX2" fmla="*/ 6942380 w 6942380"/>
              <a:gd name="connsiteY2" fmla="*/ 3823436 h 3837724"/>
              <a:gd name="connsiteX3" fmla="*/ 634 w 6942380"/>
              <a:gd name="connsiteY3" fmla="*/ 3837724 h 3837724"/>
              <a:gd name="connsiteX0" fmla="*/ 414 w 6942160"/>
              <a:gd name="connsiteY0" fmla="*/ 3709136 h 3709136"/>
              <a:gd name="connsiteX1" fmla="*/ 28989 w 6942160"/>
              <a:gd name="connsiteY1" fmla="*/ 0 h 3709136"/>
              <a:gd name="connsiteX2" fmla="*/ 6942160 w 6942160"/>
              <a:gd name="connsiteY2" fmla="*/ 3694848 h 3709136"/>
              <a:gd name="connsiteX3" fmla="*/ 414 w 6942160"/>
              <a:gd name="connsiteY3" fmla="*/ 3709136 h 3709136"/>
              <a:gd name="connsiteX0" fmla="*/ 414 w 6942160"/>
              <a:gd name="connsiteY0" fmla="*/ 3751998 h 3751998"/>
              <a:gd name="connsiteX1" fmla="*/ 28989 w 6942160"/>
              <a:gd name="connsiteY1" fmla="*/ 0 h 3751998"/>
              <a:gd name="connsiteX2" fmla="*/ 6942160 w 6942160"/>
              <a:gd name="connsiteY2" fmla="*/ 3737710 h 3751998"/>
              <a:gd name="connsiteX3" fmla="*/ 414 w 6942160"/>
              <a:gd name="connsiteY3" fmla="*/ 3751998 h 3751998"/>
              <a:gd name="connsiteX0" fmla="*/ 71438 w 7013184"/>
              <a:gd name="connsiteY0" fmla="*/ 3780573 h 3780573"/>
              <a:gd name="connsiteX1" fmla="*/ 0 w 7013184"/>
              <a:gd name="connsiteY1" fmla="*/ 0 h 3780573"/>
              <a:gd name="connsiteX2" fmla="*/ 7013184 w 7013184"/>
              <a:gd name="connsiteY2" fmla="*/ 3766285 h 3780573"/>
              <a:gd name="connsiteX3" fmla="*/ 71438 w 7013184"/>
              <a:gd name="connsiteY3" fmla="*/ 3780573 h 3780573"/>
              <a:gd name="connsiteX0" fmla="*/ 1374 w 7014558"/>
              <a:gd name="connsiteY0" fmla="*/ 3780573 h 3780573"/>
              <a:gd name="connsiteX1" fmla="*/ 1374 w 7014558"/>
              <a:gd name="connsiteY1" fmla="*/ 0 h 3780573"/>
              <a:gd name="connsiteX2" fmla="*/ 7014558 w 7014558"/>
              <a:gd name="connsiteY2" fmla="*/ 3766285 h 3780573"/>
              <a:gd name="connsiteX3" fmla="*/ 1374 w 7014558"/>
              <a:gd name="connsiteY3" fmla="*/ 3780573 h 3780573"/>
              <a:gd name="connsiteX0" fmla="*/ 1374 w 6334075"/>
              <a:gd name="connsiteY0" fmla="*/ 3780573 h 3798182"/>
              <a:gd name="connsiteX1" fmla="*/ 1374 w 6334075"/>
              <a:gd name="connsiteY1" fmla="*/ 0 h 3798182"/>
              <a:gd name="connsiteX2" fmla="*/ 6334075 w 6334075"/>
              <a:gd name="connsiteY2" fmla="*/ 3798182 h 3798182"/>
              <a:gd name="connsiteX3" fmla="*/ 1374 w 6334075"/>
              <a:gd name="connsiteY3" fmla="*/ 3780573 h 3798182"/>
              <a:gd name="connsiteX0" fmla="*/ 1374 w 5058168"/>
              <a:gd name="connsiteY0" fmla="*/ 3780573 h 3883242"/>
              <a:gd name="connsiteX1" fmla="*/ 1374 w 5058168"/>
              <a:gd name="connsiteY1" fmla="*/ 0 h 3883242"/>
              <a:gd name="connsiteX2" fmla="*/ 5058168 w 5058168"/>
              <a:gd name="connsiteY2" fmla="*/ 3883242 h 3883242"/>
              <a:gd name="connsiteX3" fmla="*/ 1374 w 5058168"/>
              <a:gd name="connsiteY3" fmla="*/ 3780573 h 3883242"/>
              <a:gd name="connsiteX0" fmla="*/ 1374 w 3750363"/>
              <a:gd name="connsiteY0" fmla="*/ 3780573 h 3989567"/>
              <a:gd name="connsiteX1" fmla="*/ 1374 w 3750363"/>
              <a:gd name="connsiteY1" fmla="*/ 0 h 3989567"/>
              <a:gd name="connsiteX2" fmla="*/ 3750363 w 3750363"/>
              <a:gd name="connsiteY2" fmla="*/ 3989567 h 3989567"/>
              <a:gd name="connsiteX3" fmla="*/ 1374 w 3750363"/>
              <a:gd name="connsiteY3" fmla="*/ 3780573 h 3989567"/>
              <a:gd name="connsiteX0" fmla="*/ 1374 w 5515368"/>
              <a:gd name="connsiteY0" fmla="*/ 3780573 h 3780573"/>
              <a:gd name="connsiteX1" fmla="*/ 1374 w 5515368"/>
              <a:gd name="connsiteY1" fmla="*/ 0 h 3780573"/>
              <a:gd name="connsiteX2" fmla="*/ 5515368 w 5515368"/>
              <a:gd name="connsiteY2" fmla="*/ 3745018 h 3780573"/>
              <a:gd name="connsiteX3" fmla="*/ 1374 w 5515368"/>
              <a:gd name="connsiteY3" fmla="*/ 3780573 h 3780573"/>
              <a:gd name="connsiteX0" fmla="*/ 1374 w 7429229"/>
              <a:gd name="connsiteY0" fmla="*/ 3780573 h 3780573"/>
              <a:gd name="connsiteX1" fmla="*/ 1374 w 7429229"/>
              <a:gd name="connsiteY1" fmla="*/ 0 h 3780573"/>
              <a:gd name="connsiteX2" fmla="*/ 7429229 w 7429229"/>
              <a:gd name="connsiteY2" fmla="*/ 3766283 h 3780573"/>
              <a:gd name="connsiteX3" fmla="*/ 1374 w 7429229"/>
              <a:gd name="connsiteY3" fmla="*/ 3780573 h 3780573"/>
              <a:gd name="connsiteX0" fmla="*/ 735 w 7428590"/>
              <a:gd name="connsiteY0" fmla="*/ 4003857 h 4003857"/>
              <a:gd name="connsiteX1" fmla="*/ 11367 w 7428590"/>
              <a:gd name="connsiteY1" fmla="*/ 0 h 4003857"/>
              <a:gd name="connsiteX2" fmla="*/ 7428590 w 7428590"/>
              <a:gd name="connsiteY2" fmla="*/ 3989567 h 4003857"/>
              <a:gd name="connsiteX3" fmla="*/ 735 w 7428590"/>
              <a:gd name="connsiteY3" fmla="*/ 4003857 h 4003857"/>
              <a:gd name="connsiteX0" fmla="*/ 1376 w 7418598"/>
              <a:gd name="connsiteY0" fmla="*/ 3855001 h 3989567"/>
              <a:gd name="connsiteX1" fmla="*/ 1375 w 7418598"/>
              <a:gd name="connsiteY1" fmla="*/ 0 h 3989567"/>
              <a:gd name="connsiteX2" fmla="*/ 7418598 w 7418598"/>
              <a:gd name="connsiteY2" fmla="*/ 3989567 h 3989567"/>
              <a:gd name="connsiteX3" fmla="*/ 1376 w 7418598"/>
              <a:gd name="connsiteY3" fmla="*/ 3855001 h 3989567"/>
              <a:gd name="connsiteX0" fmla="*/ 10634 w 7417223"/>
              <a:gd name="connsiteY0" fmla="*/ 3971960 h 3989567"/>
              <a:gd name="connsiteX1" fmla="*/ 0 w 7417223"/>
              <a:gd name="connsiteY1" fmla="*/ 0 h 3989567"/>
              <a:gd name="connsiteX2" fmla="*/ 7417223 w 7417223"/>
              <a:gd name="connsiteY2" fmla="*/ 3989567 h 3989567"/>
              <a:gd name="connsiteX3" fmla="*/ 10634 w 7417223"/>
              <a:gd name="connsiteY3" fmla="*/ 3971960 h 3989567"/>
              <a:gd name="connsiteX0" fmla="*/ 10634 w 6417762"/>
              <a:gd name="connsiteY0" fmla="*/ 3971960 h 3971960"/>
              <a:gd name="connsiteX1" fmla="*/ 0 w 6417762"/>
              <a:gd name="connsiteY1" fmla="*/ 0 h 3971960"/>
              <a:gd name="connsiteX2" fmla="*/ 6417762 w 6417762"/>
              <a:gd name="connsiteY2" fmla="*/ 3649325 h 3971960"/>
              <a:gd name="connsiteX3" fmla="*/ 10634 w 6417762"/>
              <a:gd name="connsiteY3" fmla="*/ 3971960 h 3971960"/>
              <a:gd name="connsiteX0" fmla="*/ 10634 w 5822339"/>
              <a:gd name="connsiteY0" fmla="*/ 3971960 h 3971960"/>
              <a:gd name="connsiteX1" fmla="*/ 0 w 5822339"/>
              <a:gd name="connsiteY1" fmla="*/ 0 h 3971960"/>
              <a:gd name="connsiteX2" fmla="*/ 5822339 w 5822339"/>
              <a:gd name="connsiteY2" fmla="*/ 2713660 h 3971960"/>
              <a:gd name="connsiteX3" fmla="*/ 10634 w 5822339"/>
              <a:gd name="connsiteY3" fmla="*/ 3971960 h 3971960"/>
              <a:gd name="connsiteX0" fmla="*/ 10634 w 6991920"/>
              <a:gd name="connsiteY0" fmla="*/ 3971960 h 3978934"/>
              <a:gd name="connsiteX1" fmla="*/ 0 w 6991920"/>
              <a:gd name="connsiteY1" fmla="*/ 0 h 3978934"/>
              <a:gd name="connsiteX2" fmla="*/ 6991920 w 6991920"/>
              <a:gd name="connsiteY2" fmla="*/ 3978934 h 3978934"/>
              <a:gd name="connsiteX3" fmla="*/ 10634 w 6991920"/>
              <a:gd name="connsiteY3" fmla="*/ 3971960 h 3978934"/>
              <a:gd name="connsiteX0" fmla="*/ 10634 w 6736738"/>
              <a:gd name="connsiteY0" fmla="*/ 3971960 h 3989566"/>
              <a:gd name="connsiteX1" fmla="*/ 0 w 6736738"/>
              <a:gd name="connsiteY1" fmla="*/ 0 h 3989566"/>
              <a:gd name="connsiteX2" fmla="*/ 6736738 w 6736738"/>
              <a:gd name="connsiteY2" fmla="*/ 3989566 h 3989566"/>
              <a:gd name="connsiteX3" fmla="*/ 10634 w 6736738"/>
              <a:gd name="connsiteY3" fmla="*/ 3971960 h 3989566"/>
              <a:gd name="connsiteX0" fmla="*/ 42532 w 6768636"/>
              <a:gd name="connsiteY0" fmla="*/ 3663615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42532 w 6768636"/>
              <a:gd name="connsiteY3" fmla="*/ 3663615 h 3681221"/>
              <a:gd name="connsiteX0" fmla="*/ 21267 w 6768636"/>
              <a:gd name="connsiteY0" fmla="*/ 3674248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21267 w 6768636"/>
              <a:gd name="connsiteY3" fmla="*/ 3674248 h 3681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68636" h="3681221">
                <a:moveTo>
                  <a:pt x="21267" y="3674248"/>
                </a:moveTo>
                <a:cubicBezTo>
                  <a:pt x="16504" y="2371194"/>
                  <a:pt x="4763" y="1303054"/>
                  <a:pt x="0" y="0"/>
                </a:cubicBezTo>
                <a:lnTo>
                  <a:pt x="6768636" y="3681221"/>
                </a:lnTo>
                <a:lnTo>
                  <a:pt x="21267" y="3674248"/>
                </a:lnTo>
                <a:close/>
              </a:path>
            </a:pathLst>
          </a:custGeom>
          <a:solidFill>
            <a:srgbClr val="B5217E"/>
          </a:solidFill>
          <a:ln>
            <a:noFill/>
          </a:ln>
          <a:effectLst>
            <a:outerShdw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defTabSz="91438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creen 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B521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Divider Screen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</p:spTree>
    <p:extLst>
      <p:ext uri="{BB962C8B-B14F-4D97-AF65-F5344CB8AC3E}">
        <p14:creationId xmlns:p14="http://schemas.microsoft.com/office/powerpoint/2010/main" val="222918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creen Blue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apezoid 11"/>
          <p:cNvSpPr/>
          <p:nvPr userDrawn="1"/>
        </p:nvSpPr>
        <p:spPr>
          <a:xfrm>
            <a:off x="-31292" y="-1483"/>
            <a:ext cx="6121119" cy="6870116"/>
          </a:xfrm>
          <a:custGeom>
            <a:avLst/>
            <a:gdLst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254681 w 4339575"/>
              <a:gd name="connsiteY2" fmla="*/ 0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305481 w 4339575"/>
              <a:gd name="connsiteY2" fmla="*/ 135466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1150306 w 5489881"/>
              <a:gd name="connsiteY0" fmla="*/ 6888789 h 6888789"/>
              <a:gd name="connsiteX1" fmla="*/ 0 w 5489881"/>
              <a:gd name="connsiteY1" fmla="*/ 135468 h 6888789"/>
              <a:gd name="connsiteX2" fmla="*/ 4455787 w 5489881"/>
              <a:gd name="connsiteY2" fmla="*/ 0 h 6888789"/>
              <a:gd name="connsiteX3" fmla="*/ 5489881 w 5489881"/>
              <a:gd name="connsiteY3" fmla="*/ 6888789 h 6888789"/>
              <a:gd name="connsiteX4" fmla="*/ 1150306 w 5489881"/>
              <a:gd name="connsiteY4" fmla="*/ 6888789 h 6888789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4472720 w 5489881"/>
              <a:gd name="connsiteY2" fmla="*/ 33865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389920 w 5489881"/>
              <a:gd name="connsiteY2" fmla="*/ 50799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728587 w 5489881"/>
              <a:gd name="connsiteY2" fmla="*/ 33866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87188 h 6787188"/>
              <a:gd name="connsiteX1" fmla="*/ 0 w 5489881"/>
              <a:gd name="connsiteY1" fmla="*/ 33867 h 6787188"/>
              <a:gd name="connsiteX2" fmla="*/ 2711654 w 5489881"/>
              <a:gd name="connsiteY2" fmla="*/ 0 h 6787188"/>
              <a:gd name="connsiteX3" fmla="*/ 5489881 w 5489881"/>
              <a:gd name="connsiteY3" fmla="*/ 6787188 h 6787188"/>
              <a:gd name="connsiteX4" fmla="*/ 1150306 w 5489881"/>
              <a:gd name="connsiteY4" fmla="*/ 6787188 h 6787188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677787 w 5489881"/>
              <a:gd name="connsiteY2" fmla="*/ 16933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6268815"/>
              <a:gd name="connsiteY0" fmla="*/ 6753321 h 6973454"/>
              <a:gd name="connsiteX1" fmla="*/ 0 w 6268815"/>
              <a:gd name="connsiteY1" fmla="*/ 0 h 6973454"/>
              <a:gd name="connsiteX2" fmla="*/ 2677787 w 6268815"/>
              <a:gd name="connsiteY2" fmla="*/ 16933 h 6973454"/>
              <a:gd name="connsiteX3" fmla="*/ 6268815 w 6268815"/>
              <a:gd name="connsiteY3" fmla="*/ 6973454 h 6973454"/>
              <a:gd name="connsiteX4" fmla="*/ 1150306 w 6268815"/>
              <a:gd name="connsiteY4" fmla="*/ 6753321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678947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593886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121119"/>
              <a:gd name="connsiteY0" fmla="*/ 6939587 h 6984196"/>
              <a:gd name="connsiteX1" fmla="*/ 1160 w 6121119"/>
              <a:gd name="connsiteY1" fmla="*/ 0 h 6984196"/>
              <a:gd name="connsiteX2" fmla="*/ 2593886 w 6121119"/>
              <a:gd name="connsiteY2" fmla="*/ 16933 h 6984196"/>
              <a:gd name="connsiteX3" fmla="*/ 6121119 w 6121119"/>
              <a:gd name="connsiteY3" fmla="*/ 6984196 h 6984196"/>
              <a:gd name="connsiteX4" fmla="*/ 0 w 6121119"/>
              <a:gd name="connsiteY4" fmla="*/ 693958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592729 w 6119962"/>
              <a:gd name="connsiteY2" fmla="*/ 16933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624626 w 6119962"/>
              <a:gd name="connsiteY2" fmla="*/ 70647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20112 w 6098700"/>
              <a:gd name="connsiteY0" fmla="*/ 6939587 h 6941226"/>
              <a:gd name="connsiteX1" fmla="*/ 6 w 6098700"/>
              <a:gd name="connsiteY1" fmla="*/ 0 h 6941226"/>
              <a:gd name="connsiteX2" fmla="*/ 2603364 w 6098700"/>
              <a:gd name="connsiteY2" fmla="*/ 27677 h 6941226"/>
              <a:gd name="connsiteX3" fmla="*/ 6098700 w 6098700"/>
              <a:gd name="connsiteY3" fmla="*/ 6941226 h 6941226"/>
              <a:gd name="connsiteX4" fmla="*/ 20112 w 6098700"/>
              <a:gd name="connsiteY4" fmla="*/ 6939587 h 6941226"/>
              <a:gd name="connsiteX0" fmla="*/ 0 w 6121119"/>
              <a:gd name="connsiteY0" fmla="*/ 6918102 h 6941226"/>
              <a:gd name="connsiteX1" fmla="*/ 22425 w 6121119"/>
              <a:gd name="connsiteY1" fmla="*/ 0 h 6941226"/>
              <a:gd name="connsiteX2" fmla="*/ 2625783 w 6121119"/>
              <a:gd name="connsiteY2" fmla="*/ 27677 h 6941226"/>
              <a:gd name="connsiteX3" fmla="*/ 6121119 w 6121119"/>
              <a:gd name="connsiteY3" fmla="*/ 6941226 h 6941226"/>
              <a:gd name="connsiteX4" fmla="*/ 0 w 6121119"/>
              <a:gd name="connsiteY4" fmla="*/ 6918102 h 6941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1119" h="6941226">
                <a:moveTo>
                  <a:pt x="0" y="6918102"/>
                </a:moveTo>
                <a:cubicBezTo>
                  <a:pt x="387" y="4604906"/>
                  <a:pt x="22038" y="2313196"/>
                  <a:pt x="22425" y="0"/>
                </a:cubicBezTo>
                <a:lnTo>
                  <a:pt x="2625783" y="27677"/>
                </a:lnTo>
                <a:lnTo>
                  <a:pt x="6121119" y="6941226"/>
                </a:lnTo>
                <a:lnTo>
                  <a:pt x="0" y="6918102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8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Calibri" charset="0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94" indent="0" algn="ctr">
              <a:buNone/>
              <a:defRPr sz="2000"/>
            </a:lvl2pPr>
            <a:lvl3pPr marL="914389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sp>
        <p:nvSpPr>
          <p:cNvPr id="17" name="Subtitle 2"/>
          <p:cNvSpPr txBox="1">
            <a:spLocks/>
          </p:cNvSpPr>
          <p:nvPr userDrawn="1"/>
        </p:nvSpPr>
        <p:spPr>
          <a:xfrm>
            <a:off x="2916140" y="4351410"/>
            <a:ext cx="9144000" cy="2341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rgbClr val="B5217E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89">
              <a:spcBef>
                <a:spcPts val="1000"/>
              </a:spcBef>
              <a:defRPr/>
            </a:pPr>
            <a:r>
              <a:rPr lang="en-US" sz="160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t>Denise Duncan / Director, Enablement Services / </a:t>
            </a:r>
            <a:fld id="{3131BDA8-0BB6-4307-A0EC-932C57A2C0CA}" type="datetime3">
              <a:rPr lang="en-US" sz="1600" smtClean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pPr defTabSz="914389">
                <a:spcBef>
                  <a:spcPts val="1000"/>
                </a:spcBef>
                <a:defRPr/>
              </a:pPr>
              <a:t>24 January 2018</a:t>
            </a:fld>
            <a:endParaRPr lang="en-US" sz="1600">
              <a:solidFill>
                <a:srgbClr val="00395A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5"/>
            <a:ext cx="2148811" cy="406841"/>
          </a:xfrm>
          <a:prstGeom prst="rect">
            <a:avLst/>
          </a:prstGeom>
        </p:spPr>
      </p:pic>
      <p:sp>
        <p:nvSpPr>
          <p:cNvPr id="20" name="Right Triangle 19"/>
          <p:cNvSpPr/>
          <p:nvPr userDrawn="1"/>
        </p:nvSpPr>
        <p:spPr>
          <a:xfrm rot="10800000" flipH="1">
            <a:off x="-31293" y="-14285"/>
            <a:ext cx="6738111" cy="3681221"/>
          </a:xfrm>
          <a:custGeom>
            <a:avLst/>
            <a:gdLst>
              <a:gd name="connsiteX0" fmla="*/ 0 w 5913047"/>
              <a:gd name="connsiteY0" fmla="*/ 3980599 h 3980599"/>
              <a:gd name="connsiteX1" fmla="*/ 0 w 5913047"/>
              <a:gd name="connsiteY1" fmla="*/ 0 h 3980599"/>
              <a:gd name="connsiteX2" fmla="*/ 5913047 w 5913047"/>
              <a:gd name="connsiteY2" fmla="*/ 3980599 h 3980599"/>
              <a:gd name="connsiteX3" fmla="*/ 0 w 5913047"/>
              <a:gd name="connsiteY3" fmla="*/ 3980599 h 3980599"/>
              <a:gd name="connsiteX0" fmla="*/ 0 w 6956034"/>
              <a:gd name="connsiteY0" fmla="*/ 3980599 h 3980599"/>
              <a:gd name="connsiteX1" fmla="*/ 0 w 6956034"/>
              <a:gd name="connsiteY1" fmla="*/ 0 h 3980599"/>
              <a:gd name="connsiteX2" fmla="*/ 6956034 w 6956034"/>
              <a:gd name="connsiteY2" fmla="*/ 3894874 h 3980599"/>
              <a:gd name="connsiteX3" fmla="*/ 0 w 6956034"/>
              <a:gd name="connsiteY3" fmla="*/ 3980599 h 3980599"/>
              <a:gd name="connsiteX0" fmla="*/ 14288 w 6956034"/>
              <a:gd name="connsiteY0" fmla="*/ 3909162 h 3909162"/>
              <a:gd name="connsiteX1" fmla="*/ 0 w 6956034"/>
              <a:gd name="connsiteY1" fmla="*/ 0 h 3909162"/>
              <a:gd name="connsiteX2" fmla="*/ 6956034 w 6956034"/>
              <a:gd name="connsiteY2" fmla="*/ 3894874 h 3909162"/>
              <a:gd name="connsiteX3" fmla="*/ 14288 w 6956034"/>
              <a:gd name="connsiteY3" fmla="*/ 3909162 h 3909162"/>
              <a:gd name="connsiteX0" fmla="*/ 634 w 6942380"/>
              <a:gd name="connsiteY0" fmla="*/ 3837724 h 3837724"/>
              <a:gd name="connsiteX1" fmla="*/ 14921 w 6942380"/>
              <a:gd name="connsiteY1" fmla="*/ 0 h 3837724"/>
              <a:gd name="connsiteX2" fmla="*/ 6942380 w 6942380"/>
              <a:gd name="connsiteY2" fmla="*/ 3823436 h 3837724"/>
              <a:gd name="connsiteX3" fmla="*/ 634 w 6942380"/>
              <a:gd name="connsiteY3" fmla="*/ 3837724 h 3837724"/>
              <a:gd name="connsiteX0" fmla="*/ 414 w 6942160"/>
              <a:gd name="connsiteY0" fmla="*/ 3709136 h 3709136"/>
              <a:gd name="connsiteX1" fmla="*/ 28989 w 6942160"/>
              <a:gd name="connsiteY1" fmla="*/ 0 h 3709136"/>
              <a:gd name="connsiteX2" fmla="*/ 6942160 w 6942160"/>
              <a:gd name="connsiteY2" fmla="*/ 3694848 h 3709136"/>
              <a:gd name="connsiteX3" fmla="*/ 414 w 6942160"/>
              <a:gd name="connsiteY3" fmla="*/ 3709136 h 3709136"/>
              <a:gd name="connsiteX0" fmla="*/ 414 w 6942160"/>
              <a:gd name="connsiteY0" fmla="*/ 3751998 h 3751998"/>
              <a:gd name="connsiteX1" fmla="*/ 28989 w 6942160"/>
              <a:gd name="connsiteY1" fmla="*/ 0 h 3751998"/>
              <a:gd name="connsiteX2" fmla="*/ 6942160 w 6942160"/>
              <a:gd name="connsiteY2" fmla="*/ 3737710 h 3751998"/>
              <a:gd name="connsiteX3" fmla="*/ 414 w 6942160"/>
              <a:gd name="connsiteY3" fmla="*/ 3751998 h 3751998"/>
              <a:gd name="connsiteX0" fmla="*/ 71438 w 7013184"/>
              <a:gd name="connsiteY0" fmla="*/ 3780573 h 3780573"/>
              <a:gd name="connsiteX1" fmla="*/ 0 w 7013184"/>
              <a:gd name="connsiteY1" fmla="*/ 0 h 3780573"/>
              <a:gd name="connsiteX2" fmla="*/ 7013184 w 7013184"/>
              <a:gd name="connsiteY2" fmla="*/ 3766285 h 3780573"/>
              <a:gd name="connsiteX3" fmla="*/ 71438 w 7013184"/>
              <a:gd name="connsiteY3" fmla="*/ 3780573 h 3780573"/>
              <a:gd name="connsiteX0" fmla="*/ 1374 w 7014558"/>
              <a:gd name="connsiteY0" fmla="*/ 3780573 h 3780573"/>
              <a:gd name="connsiteX1" fmla="*/ 1374 w 7014558"/>
              <a:gd name="connsiteY1" fmla="*/ 0 h 3780573"/>
              <a:gd name="connsiteX2" fmla="*/ 7014558 w 7014558"/>
              <a:gd name="connsiteY2" fmla="*/ 3766285 h 3780573"/>
              <a:gd name="connsiteX3" fmla="*/ 1374 w 7014558"/>
              <a:gd name="connsiteY3" fmla="*/ 3780573 h 3780573"/>
              <a:gd name="connsiteX0" fmla="*/ 1374 w 6334075"/>
              <a:gd name="connsiteY0" fmla="*/ 3780573 h 3798182"/>
              <a:gd name="connsiteX1" fmla="*/ 1374 w 6334075"/>
              <a:gd name="connsiteY1" fmla="*/ 0 h 3798182"/>
              <a:gd name="connsiteX2" fmla="*/ 6334075 w 6334075"/>
              <a:gd name="connsiteY2" fmla="*/ 3798182 h 3798182"/>
              <a:gd name="connsiteX3" fmla="*/ 1374 w 6334075"/>
              <a:gd name="connsiteY3" fmla="*/ 3780573 h 3798182"/>
              <a:gd name="connsiteX0" fmla="*/ 1374 w 5058168"/>
              <a:gd name="connsiteY0" fmla="*/ 3780573 h 3883242"/>
              <a:gd name="connsiteX1" fmla="*/ 1374 w 5058168"/>
              <a:gd name="connsiteY1" fmla="*/ 0 h 3883242"/>
              <a:gd name="connsiteX2" fmla="*/ 5058168 w 5058168"/>
              <a:gd name="connsiteY2" fmla="*/ 3883242 h 3883242"/>
              <a:gd name="connsiteX3" fmla="*/ 1374 w 5058168"/>
              <a:gd name="connsiteY3" fmla="*/ 3780573 h 3883242"/>
              <a:gd name="connsiteX0" fmla="*/ 1374 w 3750363"/>
              <a:gd name="connsiteY0" fmla="*/ 3780573 h 3989567"/>
              <a:gd name="connsiteX1" fmla="*/ 1374 w 3750363"/>
              <a:gd name="connsiteY1" fmla="*/ 0 h 3989567"/>
              <a:gd name="connsiteX2" fmla="*/ 3750363 w 3750363"/>
              <a:gd name="connsiteY2" fmla="*/ 3989567 h 3989567"/>
              <a:gd name="connsiteX3" fmla="*/ 1374 w 3750363"/>
              <a:gd name="connsiteY3" fmla="*/ 3780573 h 3989567"/>
              <a:gd name="connsiteX0" fmla="*/ 1374 w 5515368"/>
              <a:gd name="connsiteY0" fmla="*/ 3780573 h 3780573"/>
              <a:gd name="connsiteX1" fmla="*/ 1374 w 5515368"/>
              <a:gd name="connsiteY1" fmla="*/ 0 h 3780573"/>
              <a:gd name="connsiteX2" fmla="*/ 5515368 w 5515368"/>
              <a:gd name="connsiteY2" fmla="*/ 3745018 h 3780573"/>
              <a:gd name="connsiteX3" fmla="*/ 1374 w 5515368"/>
              <a:gd name="connsiteY3" fmla="*/ 3780573 h 3780573"/>
              <a:gd name="connsiteX0" fmla="*/ 1374 w 7429229"/>
              <a:gd name="connsiteY0" fmla="*/ 3780573 h 3780573"/>
              <a:gd name="connsiteX1" fmla="*/ 1374 w 7429229"/>
              <a:gd name="connsiteY1" fmla="*/ 0 h 3780573"/>
              <a:gd name="connsiteX2" fmla="*/ 7429229 w 7429229"/>
              <a:gd name="connsiteY2" fmla="*/ 3766283 h 3780573"/>
              <a:gd name="connsiteX3" fmla="*/ 1374 w 7429229"/>
              <a:gd name="connsiteY3" fmla="*/ 3780573 h 3780573"/>
              <a:gd name="connsiteX0" fmla="*/ 735 w 7428590"/>
              <a:gd name="connsiteY0" fmla="*/ 4003857 h 4003857"/>
              <a:gd name="connsiteX1" fmla="*/ 11367 w 7428590"/>
              <a:gd name="connsiteY1" fmla="*/ 0 h 4003857"/>
              <a:gd name="connsiteX2" fmla="*/ 7428590 w 7428590"/>
              <a:gd name="connsiteY2" fmla="*/ 3989567 h 4003857"/>
              <a:gd name="connsiteX3" fmla="*/ 735 w 7428590"/>
              <a:gd name="connsiteY3" fmla="*/ 4003857 h 4003857"/>
              <a:gd name="connsiteX0" fmla="*/ 1376 w 7418598"/>
              <a:gd name="connsiteY0" fmla="*/ 3855001 h 3989567"/>
              <a:gd name="connsiteX1" fmla="*/ 1375 w 7418598"/>
              <a:gd name="connsiteY1" fmla="*/ 0 h 3989567"/>
              <a:gd name="connsiteX2" fmla="*/ 7418598 w 7418598"/>
              <a:gd name="connsiteY2" fmla="*/ 3989567 h 3989567"/>
              <a:gd name="connsiteX3" fmla="*/ 1376 w 7418598"/>
              <a:gd name="connsiteY3" fmla="*/ 3855001 h 3989567"/>
              <a:gd name="connsiteX0" fmla="*/ 10634 w 7417223"/>
              <a:gd name="connsiteY0" fmla="*/ 3971960 h 3989567"/>
              <a:gd name="connsiteX1" fmla="*/ 0 w 7417223"/>
              <a:gd name="connsiteY1" fmla="*/ 0 h 3989567"/>
              <a:gd name="connsiteX2" fmla="*/ 7417223 w 7417223"/>
              <a:gd name="connsiteY2" fmla="*/ 3989567 h 3989567"/>
              <a:gd name="connsiteX3" fmla="*/ 10634 w 7417223"/>
              <a:gd name="connsiteY3" fmla="*/ 3971960 h 3989567"/>
              <a:gd name="connsiteX0" fmla="*/ 10634 w 6417762"/>
              <a:gd name="connsiteY0" fmla="*/ 3971960 h 3971960"/>
              <a:gd name="connsiteX1" fmla="*/ 0 w 6417762"/>
              <a:gd name="connsiteY1" fmla="*/ 0 h 3971960"/>
              <a:gd name="connsiteX2" fmla="*/ 6417762 w 6417762"/>
              <a:gd name="connsiteY2" fmla="*/ 3649325 h 3971960"/>
              <a:gd name="connsiteX3" fmla="*/ 10634 w 6417762"/>
              <a:gd name="connsiteY3" fmla="*/ 3971960 h 3971960"/>
              <a:gd name="connsiteX0" fmla="*/ 10634 w 5822339"/>
              <a:gd name="connsiteY0" fmla="*/ 3971960 h 3971960"/>
              <a:gd name="connsiteX1" fmla="*/ 0 w 5822339"/>
              <a:gd name="connsiteY1" fmla="*/ 0 h 3971960"/>
              <a:gd name="connsiteX2" fmla="*/ 5822339 w 5822339"/>
              <a:gd name="connsiteY2" fmla="*/ 2713660 h 3971960"/>
              <a:gd name="connsiteX3" fmla="*/ 10634 w 5822339"/>
              <a:gd name="connsiteY3" fmla="*/ 3971960 h 3971960"/>
              <a:gd name="connsiteX0" fmla="*/ 10634 w 6991920"/>
              <a:gd name="connsiteY0" fmla="*/ 3971960 h 3978934"/>
              <a:gd name="connsiteX1" fmla="*/ 0 w 6991920"/>
              <a:gd name="connsiteY1" fmla="*/ 0 h 3978934"/>
              <a:gd name="connsiteX2" fmla="*/ 6991920 w 6991920"/>
              <a:gd name="connsiteY2" fmla="*/ 3978934 h 3978934"/>
              <a:gd name="connsiteX3" fmla="*/ 10634 w 6991920"/>
              <a:gd name="connsiteY3" fmla="*/ 3971960 h 3978934"/>
              <a:gd name="connsiteX0" fmla="*/ 10634 w 6736738"/>
              <a:gd name="connsiteY0" fmla="*/ 3971960 h 3989566"/>
              <a:gd name="connsiteX1" fmla="*/ 0 w 6736738"/>
              <a:gd name="connsiteY1" fmla="*/ 0 h 3989566"/>
              <a:gd name="connsiteX2" fmla="*/ 6736738 w 6736738"/>
              <a:gd name="connsiteY2" fmla="*/ 3989566 h 3989566"/>
              <a:gd name="connsiteX3" fmla="*/ 10634 w 6736738"/>
              <a:gd name="connsiteY3" fmla="*/ 3971960 h 3989566"/>
              <a:gd name="connsiteX0" fmla="*/ 42532 w 6768636"/>
              <a:gd name="connsiteY0" fmla="*/ 3663615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42532 w 6768636"/>
              <a:gd name="connsiteY3" fmla="*/ 3663615 h 3681221"/>
              <a:gd name="connsiteX0" fmla="*/ 21267 w 6768636"/>
              <a:gd name="connsiteY0" fmla="*/ 3674248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21267 w 6768636"/>
              <a:gd name="connsiteY3" fmla="*/ 3674248 h 3681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68636" h="3681221">
                <a:moveTo>
                  <a:pt x="21267" y="3674248"/>
                </a:moveTo>
                <a:cubicBezTo>
                  <a:pt x="16504" y="2371194"/>
                  <a:pt x="4763" y="1303054"/>
                  <a:pt x="0" y="0"/>
                </a:cubicBezTo>
                <a:lnTo>
                  <a:pt x="6768636" y="3681221"/>
                </a:lnTo>
                <a:lnTo>
                  <a:pt x="21267" y="3674248"/>
                </a:lnTo>
                <a:close/>
              </a:path>
            </a:pathLst>
          </a:custGeom>
          <a:solidFill>
            <a:srgbClr val="00395A"/>
          </a:solidFill>
          <a:ln>
            <a:noFill/>
          </a:ln>
          <a:effectLst>
            <a:outerShdw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defTabSz="91438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creen 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B521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8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Divider Screen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94" indent="0" algn="ctr">
              <a:buNone/>
              <a:defRPr sz="2000"/>
            </a:lvl2pPr>
            <a:lvl3pPr marL="914389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creen 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003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8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Divider Screen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94" indent="0" algn="ctr">
              <a:buNone/>
              <a:defRPr sz="2000"/>
            </a:lvl2pPr>
            <a:lvl3pPr marL="914389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utlin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solidFill>
                  <a:srgbClr val="B5217E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ontent Head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lnSpc>
                <a:spcPct val="150000"/>
              </a:lnSpc>
              <a:defRPr sz="24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spum</a:t>
            </a:r>
            <a:r>
              <a:rPr lang="en-US" dirty="0"/>
              <a:t> dolor</a:t>
            </a:r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</a:t>
            </a:r>
            <a:endParaRPr lang="en-US" dirty="0"/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Out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solidFill>
                  <a:srgbClr val="B5217E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ontent Head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9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4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spum</a:t>
            </a:r>
            <a:r>
              <a:rPr lang="en-US" dirty="0"/>
              <a:t> dolor</a:t>
            </a:r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</a:t>
            </a:r>
            <a:endParaRPr lang="en-US" dirty="0"/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9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4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spum</a:t>
            </a:r>
            <a:r>
              <a:rPr lang="en-US" dirty="0"/>
              <a:t> dolor</a:t>
            </a:r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</a:t>
            </a:r>
            <a:endParaRPr lang="en-US" dirty="0"/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creens Dark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003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8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7" y="5895603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94" indent="0" algn="ctr">
              <a:buNone/>
              <a:defRPr sz="2000"/>
            </a:lvl2pPr>
            <a:lvl3pPr marL="914389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7" y="457199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8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949" y="703881"/>
            <a:ext cx="7986713" cy="4900329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Screens Dark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003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8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7" y="5895603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94" indent="0" algn="ctr">
              <a:buNone/>
              <a:defRPr sz="2000"/>
            </a:lvl2pPr>
            <a:lvl3pPr marL="914389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7" y="457199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8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creens Light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7" y="5895603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94" indent="0" algn="ctr">
              <a:buNone/>
              <a:defRPr sz="2000"/>
            </a:lvl2pPr>
            <a:lvl3pPr marL="914389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7" y="457199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8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949" y="703881"/>
            <a:ext cx="7986713" cy="4900329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>
            <a:off x="600075" y="5738436"/>
            <a:ext cx="10972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Screens Light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7" y="5895603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94" indent="0" algn="ctr">
              <a:buNone/>
              <a:defRPr sz="2000"/>
            </a:lvl2pPr>
            <a:lvl3pPr marL="914389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7" y="457199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8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0075" y="5738436"/>
            <a:ext cx="10972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you Screen w/ PS Graphic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7036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94" indent="0" algn="ctr">
              <a:buNone/>
              <a:defRPr sz="2000"/>
            </a:lvl2pPr>
            <a:lvl3pPr marL="914389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 dirty="0" err="1"/>
              <a:t>www.crownpeak.co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5"/>
            <a:ext cx="2148811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creen 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003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Divider Screen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8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</p:spTree>
    <p:extLst>
      <p:ext uri="{BB962C8B-B14F-4D97-AF65-F5344CB8AC3E}">
        <p14:creationId xmlns:p14="http://schemas.microsoft.com/office/powerpoint/2010/main" val="1967533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you Screen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/>
          <p:nvPr userDrawn="1"/>
        </p:nvSpPr>
        <p:spPr>
          <a:xfrm>
            <a:off x="605" y="-14288"/>
            <a:ext cx="12191395" cy="6886576"/>
          </a:xfrm>
          <a:custGeom>
            <a:avLst/>
            <a:gdLst>
              <a:gd name="connsiteX0" fmla="*/ 0 w 12191395"/>
              <a:gd name="connsiteY0" fmla="*/ 0 h 6886576"/>
              <a:gd name="connsiteX1" fmla="*/ 12191395 w 12191395"/>
              <a:gd name="connsiteY1" fmla="*/ 0 h 6886576"/>
              <a:gd name="connsiteX2" fmla="*/ 12191395 w 12191395"/>
              <a:gd name="connsiteY2" fmla="*/ 6886576 h 6886576"/>
              <a:gd name="connsiteX3" fmla="*/ 0 w 12191395"/>
              <a:gd name="connsiteY3" fmla="*/ 6886576 h 6886576"/>
              <a:gd name="connsiteX4" fmla="*/ 0 w 12191395"/>
              <a:gd name="connsiteY4" fmla="*/ 0 h 6886576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12191395 w 12191395"/>
              <a:gd name="connsiteY2" fmla="*/ 6900863 h 6900863"/>
              <a:gd name="connsiteX3" fmla="*/ 0 w 12191395"/>
              <a:gd name="connsiteY3" fmla="*/ 6900863 h 6900863"/>
              <a:gd name="connsiteX4" fmla="*/ 0 w 12191395"/>
              <a:gd name="connsiteY4" fmla="*/ 14287 h 6900863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9900633 w 12191395"/>
              <a:gd name="connsiteY2" fmla="*/ 2871788 h 6900863"/>
              <a:gd name="connsiteX3" fmla="*/ 12191395 w 12191395"/>
              <a:gd name="connsiteY3" fmla="*/ 6900863 h 6900863"/>
              <a:gd name="connsiteX4" fmla="*/ 0 w 12191395"/>
              <a:gd name="connsiteY4" fmla="*/ 6900863 h 6900863"/>
              <a:gd name="connsiteX5" fmla="*/ 0 w 12191395"/>
              <a:gd name="connsiteY5" fmla="*/ 14287 h 6900863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12186633 w 12191395"/>
              <a:gd name="connsiteY2" fmla="*/ 2828926 h 6900863"/>
              <a:gd name="connsiteX3" fmla="*/ 12191395 w 12191395"/>
              <a:gd name="connsiteY3" fmla="*/ 6900863 h 6900863"/>
              <a:gd name="connsiteX4" fmla="*/ 0 w 12191395"/>
              <a:gd name="connsiteY4" fmla="*/ 6900863 h 6900863"/>
              <a:gd name="connsiteX5" fmla="*/ 0 w 12191395"/>
              <a:gd name="connsiteY5" fmla="*/ 14287 h 6900863"/>
              <a:gd name="connsiteX0" fmla="*/ 0 w 12191395"/>
              <a:gd name="connsiteY0" fmla="*/ 0 h 6886576"/>
              <a:gd name="connsiteX1" fmla="*/ 7505095 w 12191395"/>
              <a:gd name="connsiteY1" fmla="*/ 14288 h 6886576"/>
              <a:gd name="connsiteX2" fmla="*/ 12186633 w 12191395"/>
              <a:gd name="connsiteY2" fmla="*/ 2814639 h 6886576"/>
              <a:gd name="connsiteX3" fmla="*/ 12191395 w 12191395"/>
              <a:gd name="connsiteY3" fmla="*/ 6886576 h 6886576"/>
              <a:gd name="connsiteX4" fmla="*/ 0 w 12191395"/>
              <a:gd name="connsiteY4" fmla="*/ 6886576 h 6886576"/>
              <a:gd name="connsiteX5" fmla="*/ 0 w 12191395"/>
              <a:gd name="connsiteY5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1395" h="6886576">
                <a:moveTo>
                  <a:pt x="0" y="0"/>
                </a:moveTo>
                <a:lnTo>
                  <a:pt x="7505095" y="14288"/>
                </a:lnTo>
                <a:lnTo>
                  <a:pt x="12186633" y="2814639"/>
                </a:lnTo>
                <a:cubicBezTo>
                  <a:pt x="12188220" y="4171951"/>
                  <a:pt x="12189808" y="5529264"/>
                  <a:pt x="12191395" y="6886576"/>
                </a:cubicBezTo>
                <a:lnTo>
                  <a:pt x="0" y="688657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8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94" indent="0" algn="ctr">
              <a:buNone/>
              <a:defRPr sz="2000"/>
            </a:lvl2pPr>
            <a:lvl3pPr marL="914389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 dirty="0" err="1"/>
              <a:t>www.crownpeak.co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5"/>
            <a:ext cx="2148811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89"/>
            <a:endParaRPr lang="en-US" sz="180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89"/>
            <a:endParaRPr lang="en-US" sz="180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89"/>
            <a:fld id="{B6195397-5482-F245-8ABB-32E8412BBEEF}" type="slidenum">
              <a:rPr lang="en-US" sz="1800" smtClean="0">
                <a:solidFill>
                  <a:srgbClr val="000000">
                    <a:tint val="75000"/>
                  </a:srgbClr>
                </a:solidFill>
              </a:rPr>
              <a:pPr defTabSz="914389"/>
              <a:t>‹#›</a:t>
            </a:fld>
            <a:endParaRPr lang="en-US" sz="180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2569" y="415624"/>
            <a:ext cx="9358603" cy="304699"/>
          </a:xfrm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chemeClr val="accent1"/>
                </a:solidFill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52569" y="134399"/>
            <a:ext cx="9358603" cy="293927"/>
          </a:xfrm>
        </p:spPr>
        <p:txBody>
          <a:bodyPr/>
          <a:lstStyle>
            <a:lvl1pPr>
              <a:defRPr b="1">
                <a:solidFill>
                  <a:srgbClr val="68707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276817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/>
          </p:cNvSpPr>
          <p:nvPr>
            <p:ph type="sldNum" sz="quarter" idx="2"/>
          </p:nvPr>
        </p:nvSpPr>
        <p:spPr>
          <a:xfrm>
            <a:off x="11638745" y="6390445"/>
            <a:ext cx="198773" cy="177100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algn="ctr">
              <a:defRPr sz="1151" b="0">
                <a:solidFill>
                  <a:srgbClr val="000000"/>
                </a:solidFill>
                <a:latin typeface="Seravek Light"/>
                <a:ea typeface="Seravek Light"/>
                <a:cs typeface="Seravek Light"/>
                <a:sym typeface="Seravek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49" name="Shape 49"/>
          <p:cNvSpPr>
            <a:spLocks noGrp="1"/>
          </p:cNvSpPr>
          <p:nvPr>
            <p:ph type="title"/>
          </p:nvPr>
        </p:nvSpPr>
        <p:spPr>
          <a:xfrm>
            <a:off x="453871" y="251806"/>
            <a:ext cx="2092552" cy="3683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900" b="1" cap="all">
                <a:solidFill>
                  <a:srgbClr val="3B3D40"/>
                </a:solidFill>
                <a:latin typeface="Neris Black"/>
                <a:ea typeface="Neris Black"/>
                <a:cs typeface="Neris Black"/>
                <a:sym typeface="Neris Black"/>
              </a:defRPr>
            </a:lvl1pPr>
          </a:lstStyle>
          <a:p>
            <a:pPr lvl="0">
              <a:defRPr sz="1800" b="0" cap="none">
                <a:solidFill>
                  <a:srgbClr val="000000"/>
                </a:solidFill>
              </a:defRPr>
            </a:pPr>
            <a:r>
              <a:rPr sz="1851" b="1" cap="all">
                <a:solidFill>
                  <a:srgbClr val="3B3D40"/>
                </a:solidFill>
              </a:rPr>
              <a:t>Title Text</a:t>
            </a:r>
          </a:p>
        </p:txBody>
      </p:sp>
      <p:sp>
        <p:nvSpPr>
          <p:cNvPr id="9" name="Shape 39"/>
          <p:cNvSpPr/>
          <p:nvPr userDrawn="1"/>
        </p:nvSpPr>
        <p:spPr>
          <a:xfrm>
            <a:off x="1" y="-3174"/>
            <a:ext cx="12204700" cy="59436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75000"/>
                </a:schemeClr>
              </a:gs>
            </a:gsLst>
          </a:gradFill>
          <a:ln w="12700">
            <a:miter lim="400000"/>
          </a:ln>
        </p:spPr>
        <p:txBody>
          <a:bodyPr lIns="0" tIns="0" rIns="0" bIns="0" anchor="ctr"/>
          <a:lstStyle/>
          <a:p>
            <a:pPr algn="ctr" defTabSz="609585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sz="1600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0" name="Picture 9" descr="Logo-Full-NoTag-Light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75927" y="251804"/>
            <a:ext cx="1771560" cy="315416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32667" y="274639"/>
            <a:ext cx="9059333" cy="1143000"/>
          </a:xfrm>
        </p:spPr>
        <p:txBody>
          <a:bodyPr/>
          <a:lstStyle>
            <a:lvl1pPr>
              <a:defRPr sz="3733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ACB6-83AD-C64A-9DF7-000AC6D9CE9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58289" y="6356353"/>
            <a:ext cx="5143795" cy="486833"/>
          </a:xfrm>
        </p:spPr>
        <p:txBody>
          <a:bodyPr/>
          <a:lstStyle>
            <a:lvl1pPr>
              <a:defRPr>
                <a:latin typeface="Neris Light" panose="00000400000000000000" pitchFamily="50" charset="0"/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oprietary and Confidential - All Rights Reserved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creen w/ PS Graphic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68" y="2171"/>
            <a:ext cx="674995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Calibri" charset="0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sp>
        <p:nvSpPr>
          <p:cNvPr id="17" name="Subtitle 2"/>
          <p:cNvSpPr txBox="1">
            <a:spLocks/>
          </p:cNvSpPr>
          <p:nvPr userDrawn="1"/>
        </p:nvSpPr>
        <p:spPr>
          <a:xfrm>
            <a:off x="2916140" y="4351409"/>
            <a:ext cx="9144000" cy="2341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rgbClr val="B5217E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US" sz="160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t>Denise Duncan / Director, Enablement Services / </a:t>
            </a:r>
            <a:fld id="{35902B22-8956-46D5-824C-D7C7DC1E9C2E}" type="datetime3">
              <a:rPr lang="en-US" sz="1600" smtClean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pPr defTabSz="914377">
                <a:spcBef>
                  <a:spcPts val="1000"/>
                </a:spcBef>
                <a:defRPr/>
              </a:pPr>
              <a:t>24 January 2018</a:t>
            </a:fld>
            <a:endParaRPr lang="en-US" sz="1600">
              <a:solidFill>
                <a:srgbClr val="00395A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4"/>
            <a:ext cx="2148811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creen Magenta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apezoid 11"/>
          <p:cNvSpPr/>
          <p:nvPr userDrawn="1"/>
        </p:nvSpPr>
        <p:spPr>
          <a:xfrm>
            <a:off x="-31293" y="-1483"/>
            <a:ext cx="6121119" cy="6870116"/>
          </a:xfrm>
          <a:custGeom>
            <a:avLst/>
            <a:gdLst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254681 w 4339575"/>
              <a:gd name="connsiteY2" fmla="*/ 0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305481 w 4339575"/>
              <a:gd name="connsiteY2" fmla="*/ 135466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1150306 w 5489881"/>
              <a:gd name="connsiteY0" fmla="*/ 6888789 h 6888789"/>
              <a:gd name="connsiteX1" fmla="*/ 0 w 5489881"/>
              <a:gd name="connsiteY1" fmla="*/ 135468 h 6888789"/>
              <a:gd name="connsiteX2" fmla="*/ 4455787 w 5489881"/>
              <a:gd name="connsiteY2" fmla="*/ 0 h 6888789"/>
              <a:gd name="connsiteX3" fmla="*/ 5489881 w 5489881"/>
              <a:gd name="connsiteY3" fmla="*/ 6888789 h 6888789"/>
              <a:gd name="connsiteX4" fmla="*/ 1150306 w 5489881"/>
              <a:gd name="connsiteY4" fmla="*/ 6888789 h 6888789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4472720 w 5489881"/>
              <a:gd name="connsiteY2" fmla="*/ 33865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389920 w 5489881"/>
              <a:gd name="connsiteY2" fmla="*/ 50799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728587 w 5489881"/>
              <a:gd name="connsiteY2" fmla="*/ 33866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87188 h 6787188"/>
              <a:gd name="connsiteX1" fmla="*/ 0 w 5489881"/>
              <a:gd name="connsiteY1" fmla="*/ 33867 h 6787188"/>
              <a:gd name="connsiteX2" fmla="*/ 2711654 w 5489881"/>
              <a:gd name="connsiteY2" fmla="*/ 0 h 6787188"/>
              <a:gd name="connsiteX3" fmla="*/ 5489881 w 5489881"/>
              <a:gd name="connsiteY3" fmla="*/ 6787188 h 6787188"/>
              <a:gd name="connsiteX4" fmla="*/ 1150306 w 5489881"/>
              <a:gd name="connsiteY4" fmla="*/ 6787188 h 6787188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677787 w 5489881"/>
              <a:gd name="connsiteY2" fmla="*/ 16933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6268815"/>
              <a:gd name="connsiteY0" fmla="*/ 6753321 h 6973454"/>
              <a:gd name="connsiteX1" fmla="*/ 0 w 6268815"/>
              <a:gd name="connsiteY1" fmla="*/ 0 h 6973454"/>
              <a:gd name="connsiteX2" fmla="*/ 2677787 w 6268815"/>
              <a:gd name="connsiteY2" fmla="*/ 16933 h 6973454"/>
              <a:gd name="connsiteX3" fmla="*/ 6268815 w 6268815"/>
              <a:gd name="connsiteY3" fmla="*/ 6973454 h 6973454"/>
              <a:gd name="connsiteX4" fmla="*/ 1150306 w 6268815"/>
              <a:gd name="connsiteY4" fmla="*/ 6753321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678947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593886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121119"/>
              <a:gd name="connsiteY0" fmla="*/ 6939587 h 6984196"/>
              <a:gd name="connsiteX1" fmla="*/ 1160 w 6121119"/>
              <a:gd name="connsiteY1" fmla="*/ 0 h 6984196"/>
              <a:gd name="connsiteX2" fmla="*/ 2593886 w 6121119"/>
              <a:gd name="connsiteY2" fmla="*/ 16933 h 6984196"/>
              <a:gd name="connsiteX3" fmla="*/ 6121119 w 6121119"/>
              <a:gd name="connsiteY3" fmla="*/ 6984196 h 6984196"/>
              <a:gd name="connsiteX4" fmla="*/ 0 w 6121119"/>
              <a:gd name="connsiteY4" fmla="*/ 693958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592729 w 6119962"/>
              <a:gd name="connsiteY2" fmla="*/ 16933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624626 w 6119962"/>
              <a:gd name="connsiteY2" fmla="*/ 70647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20112 w 6098700"/>
              <a:gd name="connsiteY0" fmla="*/ 6939587 h 6941226"/>
              <a:gd name="connsiteX1" fmla="*/ 6 w 6098700"/>
              <a:gd name="connsiteY1" fmla="*/ 0 h 6941226"/>
              <a:gd name="connsiteX2" fmla="*/ 2603364 w 6098700"/>
              <a:gd name="connsiteY2" fmla="*/ 27677 h 6941226"/>
              <a:gd name="connsiteX3" fmla="*/ 6098700 w 6098700"/>
              <a:gd name="connsiteY3" fmla="*/ 6941226 h 6941226"/>
              <a:gd name="connsiteX4" fmla="*/ 20112 w 6098700"/>
              <a:gd name="connsiteY4" fmla="*/ 6939587 h 6941226"/>
              <a:gd name="connsiteX0" fmla="*/ 0 w 6121119"/>
              <a:gd name="connsiteY0" fmla="*/ 6918102 h 6941226"/>
              <a:gd name="connsiteX1" fmla="*/ 22425 w 6121119"/>
              <a:gd name="connsiteY1" fmla="*/ 0 h 6941226"/>
              <a:gd name="connsiteX2" fmla="*/ 2625783 w 6121119"/>
              <a:gd name="connsiteY2" fmla="*/ 27677 h 6941226"/>
              <a:gd name="connsiteX3" fmla="*/ 6121119 w 6121119"/>
              <a:gd name="connsiteY3" fmla="*/ 6941226 h 6941226"/>
              <a:gd name="connsiteX4" fmla="*/ 0 w 6121119"/>
              <a:gd name="connsiteY4" fmla="*/ 6918102 h 6941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1119" h="6941226">
                <a:moveTo>
                  <a:pt x="0" y="6918102"/>
                </a:moveTo>
                <a:cubicBezTo>
                  <a:pt x="387" y="4604906"/>
                  <a:pt x="22038" y="2313196"/>
                  <a:pt x="22425" y="0"/>
                </a:cubicBezTo>
                <a:lnTo>
                  <a:pt x="2625783" y="27677"/>
                </a:lnTo>
                <a:lnTo>
                  <a:pt x="6121119" y="6941226"/>
                </a:lnTo>
                <a:lnTo>
                  <a:pt x="0" y="6918102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Calibri" charset="0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sp>
        <p:nvSpPr>
          <p:cNvPr id="17" name="Subtitle 2"/>
          <p:cNvSpPr txBox="1">
            <a:spLocks/>
          </p:cNvSpPr>
          <p:nvPr userDrawn="1"/>
        </p:nvSpPr>
        <p:spPr>
          <a:xfrm>
            <a:off x="2916140" y="4351409"/>
            <a:ext cx="9144000" cy="2341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rgbClr val="B5217E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US" sz="160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t>Denise Duncan / Director, Enablement Services / </a:t>
            </a:r>
            <a:fld id="{E354890E-E41F-4ECD-B53C-931DF6A975CF}" type="datetime3">
              <a:rPr lang="en-US" sz="1600" smtClean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pPr defTabSz="914377">
                <a:spcBef>
                  <a:spcPts val="1000"/>
                </a:spcBef>
                <a:defRPr/>
              </a:pPr>
              <a:t>24 January 2018</a:t>
            </a:fld>
            <a:endParaRPr lang="en-US" sz="1600">
              <a:solidFill>
                <a:srgbClr val="00395A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4"/>
            <a:ext cx="2148811" cy="406841"/>
          </a:xfrm>
          <a:prstGeom prst="rect">
            <a:avLst/>
          </a:prstGeom>
        </p:spPr>
      </p:pic>
      <p:sp>
        <p:nvSpPr>
          <p:cNvPr id="20" name="Right Triangle 19"/>
          <p:cNvSpPr/>
          <p:nvPr userDrawn="1"/>
        </p:nvSpPr>
        <p:spPr>
          <a:xfrm rot="10800000" flipH="1">
            <a:off x="-31294" y="-14285"/>
            <a:ext cx="6738111" cy="3681221"/>
          </a:xfrm>
          <a:custGeom>
            <a:avLst/>
            <a:gdLst>
              <a:gd name="connsiteX0" fmla="*/ 0 w 5913047"/>
              <a:gd name="connsiteY0" fmla="*/ 3980599 h 3980599"/>
              <a:gd name="connsiteX1" fmla="*/ 0 w 5913047"/>
              <a:gd name="connsiteY1" fmla="*/ 0 h 3980599"/>
              <a:gd name="connsiteX2" fmla="*/ 5913047 w 5913047"/>
              <a:gd name="connsiteY2" fmla="*/ 3980599 h 3980599"/>
              <a:gd name="connsiteX3" fmla="*/ 0 w 5913047"/>
              <a:gd name="connsiteY3" fmla="*/ 3980599 h 3980599"/>
              <a:gd name="connsiteX0" fmla="*/ 0 w 6956034"/>
              <a:gd name="connsiteY0" fmla="*/ 3980599 h 3980599"/>
              <a:gd name="connsiteX1" fmla="*/ 0 w 6956034"/>
              <a:gd name="connsiteY1" fmla="*/ 0 h 3980599"/>
              <a:gd name="connsiteX2" fmla="*/ 6956034 w 6956034"/>
              <a:gd name="connsiteY2" fmla="*/ 3894874 h 3980599"/>
              <a:gd name="connsiteX3" fmla="*/ 0 w 6956034"/>
              <a:gd name="connsiteY3" fmla="*/ 3980599 h 3980599"/>
              <a:gd name="connsiteX0" fmla="*/ 14288 w 6956034"/>
              <a:gd name="connsiteY0" fmla="*/ 3909162 h 3909162"/>
              <a:gd name="connsiteX1" fmla="*/ 0 w 6956034"/>
              <a:gd name="connsiteY1" fmla="*/ 0 h 3909162"/>
              <a:gd name="connsiteX2" fmla="*/ 6956034 w 6956034"/>
              <a:gd name="connsiteY2" fmla="*/ 3894874 h 3909162"/>
              <a:gd name="connsiteX3" fmla="*/ 14288 w 6956034"/>
              <a:gd name="connsiteY3" fmla="*/ 3909162 h 3909162"/>
              <a:gd name="connsiteX0" fmla="*/ 634 w 6942380"/>
              <a:gd name="connsiteY0" fmla="*/ 3837724 h 3837724"/>
              <a:gd name="connsiteX1" fmla="*/ 14921 w 6942380"/>
              <a:gd name="connsiteY1" fmla="*/ 0 h 3837724"/>
              <a:gd name="connsiteX2" fmla="*/ 6942380 w 6942380"/>
              <a:gd name="connsiteY2" fmla="*/ 3823436 h 3837724"/>
              <a:gd name="connsiteX3" fmla="*/ 634 w 6942380"/>
              <a:gd name="connsiteY3" fmla="*/ 3837724 h 3837724"/>
              <a:gd name="connsiteX0" fmla="*/ 414 w 6942160"/>
              <a:gd name="connsiteY0" fmla="*/ 3709136 h 3709136"/>
              <a:gd name="connsiteX1" fmla="*/ 28989 w 6942160"/>
              <a:gd name="connsiteY1" fmla="*/ 0 h 3709136"/>
              <a:gd name="connsiteX2" fmla="*/ 6942160 w 6942160"/>
              <a:gd name="connsiteY2" fmla="*/ 3694848 h 3709136"/>
              <a:gd name="connsiteX3" fmla="*/ 414 w 6942160"/>
              <a:gd name="connsiteY3" fmla="*/ 3709136 h 3709136"/>
              <a:gd name="connsiteX0" fmla="*/ 414 w 6942160"/>
              <a:gd name="connsiteY0" fmla="*/ 3751998 h 3751998"/>
              <a:gd name="connsiteX1" fmla="*/ 28989 w 6942160"/>
              <a:gd name="connsiteY1" fmla="*/ 0 h 3751998"/>
              <a:gd name="connsiteX2" fmla="*/ 6942160 w 6942160"/>
              <a:gd name="connsiteY2" fmla="*/ 3737710 h 3751998"/>
              <a:gd name="connsiteX3" fmla="*/ 414 w 6942160"/>
              <a:gd name="connsiteY3" fmla="*/ 3751998 h 3751998"/>
              <a:gd name="connsiteX0" fmla="*/ 71438 w 7013184"/>
              <a:gd name="connsiteY0" fmla="*/ 3780573 h 3780573"/>
              <a:gd name="connsiteX1" fmla="*/ 0 w 7013184"/>
              <a:gd name="connsiteY1" fmla="*/ 0 h 3780573"/>
              <a:gd name="connsiteX2" fmla="*/ 7013184 w 7013184"/>
              <a:gd name="connsiteY2" fmla="*/ 3766285 h 3780573"/>
              <a:gd name="connsiteX3" fmla="*/ 71438 w 7013184"/>
              <a:gd name="connsiteY3" fmla="*/ 3780573 h 3780573"/>
              <a:gd name="connsiteX0" fmla="*/ 1374 w 7014558"/>
              <a:gd name="connsiteY0" fmla="*/ 3780573 h 3780573"/>
              <a:gd name="connsiteX1" fmla="*/ 1374 w 7014558"/>
              <a:gd name="connsiteY1" fmla="*/ 0 h 3780573"/>
              <a:gd name="connsiteX2" fmla="*/ 7014558 w 7014558"/>
              <a:gd name="connsiteY2" fmla="*/ 3766285 h 3780573"/>
              <a:gd name="connsiteX3" fmla="*/ 1374 w 7014558"/>
              <a:gd name="connsiteY3" fmla="*/ 3780573 h 3780573"/>
              <a:gd name="connsiteX0" fmla="*/ 1374 w 6334075"/>
              <a:gd name="connsiteY0" fmla="*/ 3780573 h 3798182"/>
              <a:gd name="connsiteX1" fmla="*/ 1374 w 6334075"/>
              <a:gd name="connsiteY1" fmla="*/ 0 h 3798182"/>
              <a:gd name="connsiteX2" fmla="*/ 6334075 w 6334075"/>
              <a:gd name="connsiteY2" fmla="*/ 3798182 h 3798182"/>
              <a:gd name="connsiteX3" fmla="*/ 1374 w 6334075"/>
              <a:gd name="connsiteY3" fmla="*/ 3780573 h 3798182"/>
              <a:gd name="connsiteX0" fmla="*/ 1374 w 5058168"/>
              <a:gd name="connsiteY0" fmla="*/ 3780573 h 3883242"/>
              <a:gd name="connsiteX1" fmla="*/ 1374 w 5058168"/>
              <a:gd name="connsiteY1" fmla="*/ 0 h 3883242"/>
              <a:gd name="connsiteX2" fmla="*/ 5058168 w 5058168"/>
              <a:gd name="connsiteY2" fmla="*/ 3883242 h 3883242"/>
              <a:gd name="connsiteX3" fmla="*/ 1374 w 5058168"/>
              <a:gd name="connsiteY3" fmla="*/ 3780573 h 3883242"/>
              <a:gd name="connsiteX0" fmla="*/ 1374 w 3750363"/>
              <a:gd name="connsiteY0" fmla="*/ 3780573 h 3989567"/>
              <a:gd name="connsiteX1" fmla="*/ 1374 w 3750363"/>
              <a:gd name="connsiteY1" fmla="*/ 0 h 3989567"/>
              <a:gd name="connsiteX2" fmla="*/ 3750363 w 3750363"/>
              <a:gd name="connsiteY2" fmla="*/ 3989567 h 3989567"/>
              <a:gd name="connsiteX3" fmla="*/ 1374 w 3750363"/>
              <a:gd name="connsiteY3" fmla="*/ 3780573 h 3989567"/>
              <a:gd name="connsiteX0" fmla="*/ 1374 w 5515368"/>
              <a:gd name="connsiteY0" fmla="*/ 3780573 h 3780573"/>
              <a:gd name="connsiteX1" fmla="*/ 1374 w 5515368"/>
              <a:gd name="connsiteY1" fmla="*/ 0 h 3780573"/>
              <a:gd name="connsiteX2" fmla="*/ 5515368 w 5515368"/>
              <a:gd name="connsiteY2" fmla="*/ 3745018 h 3780573"/>
              <a:gd name="connsiteX3" fmla="*/ 1374 w 5515368"/>
              <a:gd name="connsiteY3" fmla="*/ 3780573 h 3780573"/>
              <a:gd name="connsiteX0" fmla="*/ 1374 w 7429229"/>
              <a:gd name="connsiteY0" fmla="*/ 3780573 h 3780573"/>
              <a:gd name="connsiteX1" fmla="*/ 1374 w 7429229"/>
              <a:gd name="connsiteY1" fmla="*/ 0 h 3780573"/>
              <a:gd name="connsiteX2" fmla="*/ 7429229 w 7429229"/>
              <a:gd name="connsiteY2" fmla="*/ 3766283 h 3780573"/>
              <a:gd name="connsiteX3" fmla="*/ 1374 w 7429229"/>
              <a:gd name="connsiteY3" fmla="*/ 3780573 h 3780573"/>
              <a:gd name="connsiteX0" fmla="*/ 735 w 7428590"/>
              <a:gd name="connsiteY0" fmla="*/ 4003857 h 4003857"/>
              <a:gd name="connsiteX1" fmla="*/ 11367 w 7428590"/>
              <a:gd name="connsiteY1" fmla="*/ 0 h 4003857"/>
              <a:gd name="connsiteX2" fmla="*/ 7428590 w 7428590"/>
              <a:gd name="connsiteY2" fmla="*/ 3989567 h 4003857"/>
              <a:gd name="connsiteX3" fmla="*/ 735 w 7428590"/>
              <a:gd name="connsiteY3" fmla="*/ 4003857 h 4003857"/>
              <a:gd name="connsiteX0" fmla="*/ 1376 w 7418598"/>
              <a:gd name="connsiteY0" fmla="*/ 3855001 h 3989567"/>
              <a:gd name="connsiteX1" fmla="*/ 1375 w 7418598"/>
              <a:gd name="connsiteY1" fmla="*/ 0 h 3989567"/>
              <a:gd name="connsiteX2" fmla="*/ 7418598 w 7418598"/>
              <a:gd name="connsiteY2" fmla="*/ 3989567 h 3989567"/>
              <a:gd name="connsiteX3" fmla="*/ 1376 w 7418598"/>
              <a:gd name="connsiteY3" fmla="*/ 3855001 h 3989567"/>
              <a:gd name="connsiteX0" fmla="*/ 10634 w 7417223"/>
              <a:gd name="connsiteY0" fmla="*/ 3971960 h 3989567"/>
              <a:gd name="connsiteX1" fmla="*/ 0 w 7417223"/>
              <a:gd name="connsiteY1" fmla="*/ 0 h 3989567"/>
              <a:gd name="connsiteX2" fmla="*/ 7417223 w 7417223"/>
              <a:gd name="connsiteY2" fmla="*/ 3989567 h 3989567"/>
              <a:gd name="connsiteX3" fmla="*/ 10634 w 7417223"/>
              <a:gd name="connsiteY3" fmla="*/ 3971960 h 3989567"/>
              <a:gd name="connsiteX0" fmla="*/ 10634 w 6417762"/>
              <a:gd name="connsiteY0" fmla="*/ 3971960 h 3971960"/>
              <a:gd name="connsiteX1" fmla="*/ 0 w 6417762"/>
              <a:gd name="connsiteY1" fmla="*/ 0 h 3971960"/>
              <a:gd name="connsiteX2" fmla="*/ 6417762 w 6417762"/>
              <a:gd name="connsiteY2" fmla="*/ 3649325 h 3971960"/>
              <a:gd name="connsiteX3" fmla="*/ 10634 w 6417762"/>
              <a:gd name="connsiteY3" fmla="*/ 3971960 h 3971960"/>
              <a:gd name="connsiteX0" fmla="*/ 10634 w 5822339"/>
              <a:gd name="connsiteY0" fmla="*/ 3971960 h 3971960"/>
              <a:gd name="connsiteX1" fmla="*/ 0 w 5822339"/>
              <a:gd name="connsiteY1" fmla="*/ 0 h 3971960"/>
              <a:gd name="connsiteX2" fmla="*/ 5822339 w 5822339"/>
              <a:gd name="connsiteY2" fmla="*/ 2713660 h 3971960"/>
              <a:gd name="connsiteX3" fmla="*/ 10634 w 5822339"/>
              <a:gd name="connsiteY3" fmla="*/ 3971960 h 3971960"/>
              <a:gd name="connsiteX0" fmla="*/ 10634 w 6991920"/>
              <a:gd name="connsiteY0" fmla="*/ 3971960 h 3978934"/>
              <a:gd name="connsiteX1" fmla="*/ 0 w 6991920"/>
              <a:gd name="connsiteY1" fmla="*/ 0 h 3978934"/>
              <a:gd name="connsiteX2" fmla="*/ 6991920 w 6991920"/>
              <a:gd name="connsiteY2" fmla="*/ 3978934 h 3978934"/>
              <a:gd name="connsiteX3" fmla="*/ 10634 w 6991920"/>
              <a:gd name="connsiteY3" fmla="*/ 3971960 h 3978934"/>
              <a:gd name="connsiteX0" fmla="*/ 10634 w 6736738"/>
              <a:gd name="connsiteY0" fmla="*/ 3971960 h 3989566"/>
              <a:gd name="connsiteX1" fmla="*/ 0 w 6736738"/>
              <a:gd name="connsiteY1" fmla="*/ 0 h 3989566"/>
              <a:gd name="connsiteX2" fmla="*/ 6736738 w 6736738"/>
              <a:gd name="connsiteY2" fmla="*/ 3989566 h 3989566"/>
              <a:gd name="connsiteX3" fmla="*/ 10634 w 6736738"/>
              <a:gd name="connsiteY3" fmla="*/ 3971960 h 3989566"/>
              <a:gd name="connsiteX0" fmla="*/ 42532 w 6768636"/>
              <a:gd name="connsiteY0" fmla="*/ 3663615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42532 w 6768636"/>
              <a:gd name="connsiteY3" fmla="*/ 3663615 h 3681221"/>
              <a:gd name="connsiteX0" fmla="*/ 21267 w 6768636"/>
              <a:gd name="connsiteY0" fmla="*/ 3674248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21267 w 6768636"/>
              <a:gd name="connsiteY3" fmla="*/ 3674248 h 3681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68636" h="3681221">
                <a:moveTo>
                  <a:pt x="21267" y="3674248"/>
                </a:moveTo>
                <a:cubicBezTo>
                  <a:pt x="16504" y="2371194"/>
                  <a:pt x="4763" y="1303054"/>
                  <a:pt x="0" y="0"/>
                </a:cubicBezTo>
                <a:lnTo>
                  <a:pt x="6768636" y="3681221"/>
                </a:lnTo>
                <a:lnTo>
                  <a:pt x="21267" y="3674248"/>
                </a:lnTo>
                <a:close/>
              </a:path>
            </a:pathLst>
          </a:custGeom>
          <a:solidFill>
            <a:srgbClr val="B5217E"/>
          </a:solidFill>
          <a:ln>
            <a:noFill/>
          </a:ln>
          <a:effectLst>
            <a:outerShdw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creen Blue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apezoid 11"/>
          <p:cNvSpPr/>
          <p:nvPr userDrawn="1"/>
        </p:nvSpPr>
        <p:spPr>
          <a:xfrm>
            <a:off x="-31293" y="-1483"/>
            <a:ext cx="6121119" cy="6870116"/>
          </a:xfrm>
          <a:custGeom>
            <a:avLst/>
            <a:gdLst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254681 w 4339575"/>
              <a:gd name="connsiteY2" fmla="*/ 0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305481 w 4339575"/>
              <a:gd name="connsiteY2" fmla="*/ 135466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1150306 w 5489881"/>
              <a:gd name="connsiteY0" fmla="*/ 6888789 h 6888789"/>
              <a:gd name="connsiteX1" fmla="*/ 0 w 5489881"/>
              <a:gd name="connsiteY1" fmla="*/ 135468 h 6888789"/>
              <a:gd name="connsiteX2" fmla="*/ 4455787 w 5489881"/>
              <a:gd name="connsiteY2" fmla="*/ 0 h 6888789"/>
              <a:gd name="connsiteX3" fmla="*/ 5489881 w 5489881"/>
              <a:gd name="connsiteY3" fmla="*/ 6888789 h 6888789"/>
              <a:gd name="connsiteX4" fmla="*/ 1150306 w 5489881"/>
              <a:gd name="connsiteY4" fmla="*/ 6888789 h 6888789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4472720 w 5489881"/>
              <a:gd name="connsiteY2" fmla="*/ 33865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389920 w 5489881"/>
              <a:gd name="connsiteY2" fmla="*/ 50799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728587 w 5489881"/>
              <a:gd name="connsiteY2" fmla="*/ 33866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87188 h 6787188"/>
              <a:gd name="connsiteX1" fmla="*/ 0 w 5489881"/>
              <a:gd name="connsiteY1" fmla="*/ 33867 h 6787188"/>
              <a:gd name="connsiteX2" fmla="*/ 2711654 w 5489881"/>
              <a:gd name="connsiteY2" fmla="*/ 0 h 6787188"/>
              <a:gd name="connsiteX3" fmla="*/ 5489881 w 5489881"/>
              <a:gd name="connsiteY3" fmla="*/ 6787188 h 6787188"/>
              <a:gd name="connsiteX4" fmla="*/ 1150306 w 5489881"/>
              <a:gd name="connsiteY4" fmla="*/ 6787188 h 6787188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677787 w 5489881"/>
              <a:gd name="connsiteY2" fmla="*/ 16933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6268815"/>
              <a:gd name="connsiteY0" fmla="*/ 6753321 h 6973454"/>
              <a:gd name="connsiteX1" fmla="*/ 0 w 6268815"/>
              <a:gd name="connsiteY1" fmla="*/ 0 h 6973454"/>
              <a:gd name="connsiteX2" fmla="*/ 2677787 w 6268815"/>
              <a:gd name="connsiteY2" fmla="*/ 16933 h 6973454"/>
              <a:gd name="connsiteX3" fmla="*/ 6268815 w 6268815"/>
              <a:gd name="connsiteY3" fmla="*/ 6973454 h 6973454"/>
              <a:gd name="connsiteX4" fmla="*/ 1150306 w 6268815"/>
              <a:gd name="connsiteY4" fmla="*/ 6753321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678947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593886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121119"/>
              <a:gd name="connsiteY0" fmla="*/ 6939587 h 6984196"/>
              <a:gd name="connsiteX1" fmla="*/ 1160 w 6121119"/>
              <a:gd name="connsiteY1" fmla="*/ 0 h 6984196"/>
              <a:gd name="connsiteX2" fmla="*/ 2593886 w 6121119"/>
              <a:gd name="connsiteY2" fmla="*/ 16933 h 6984196"/>
              <a:gd name="connsiteX3" fmla="*/ 6121119 w 6121119"/>
              <a:gd name="connsiteY3" fmla="*/ 6984196 h 6984196"/>
              <a:gd name="connsiteX4" fmla="*/ 0 w 6121119"/>
              <a:gd name="connsiteY4" fmla="*/ 693958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592729 w 6119962"/>
              <a:gd name="connsiteY2" fmla="*/ 16933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624626 w 6119962"/>
              <a:gd name="connsiteY2" fmla="*/ 70647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20112 w 6098700"/>
              <a:gd name="connsiteY0" fmla="*/ 6939587 h 6941226"/>
              <a:gd name="connsiteX1" fmla="*/ 6 w 6098700"/>
              <a:gd name="connsiteY1" fmla="*/ 0 h 6941226"/>
              <a:gd name="connsiteX2" fmla="*/ 2603364 w 6098700"/>
              <a:gd name="connsiteY2" fmla="*/ 27677 h 6941226"/>
              <a:gd name="connsiteX3" fmla="*/ 6098700 w 6098700"/>
              <a:gd name="connsiteY3" fmla="*/ 6941226 h 6941226"/>
              <a:gd name="connsiteX4" fmla="*/ 20112 w 6098700"/>
              <a:gd name="connsiteY4" fmla="*/ 6939587 h 6941226"/>
              <a:gd name="connsiteX0" fmla="*/ 0 w 6121119"/>
              <a:gd name="connsiteY0" fmla="*/ 6918102 h 6941226"/>
              <a:gd name="connsiteX1" fmla="*/ 22425 w 6121119"/>
              <a:gd name="connsiteY1" fmla="*/ 0 h 6941226"/>
              <a:gd name="connsiteX2" fmla="*/ 2625783 w 6121119"/>
              <a:gd name="connsiteY2" fmla="*/ 27677 h 6941226"/>
              <a:gd name="connsiteX3" fmla="*/ 6121119 w 6121119"/>
              <a:gd name="connsiteY3" fmla="*/ 6941226 h 6941226"/>
              <a:gd name="connsiteX4" fmla="*/ 0 w 6121119"/>
              <a:gd name="connsiteY4" fmla="*/ 6918102 h 6941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1119" h="6941226">
                <a:moveTo>
                  <a:pt x="0" y="6918102"/>
                </a:moveTo>
                <a:cubicBezTo>
                  <a:pt x="387" y="4604906"/>
                  <a:pt x="22038" y="2313196"/>
                  <a:pt x="22425" y="0"/>
                </a:cubicBezTo>
                <a:lnTo>
                  <a:pt x="2625783" y="27677"/>
                </a:lnTo>
                <a:lnTo>
                  <a:pt x="6121119" y="6941226"/>
                </a:lnTo>
                <a:lnTo>
                  <a:pt x="0" y="6918102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Calibri" charset="0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sp>
        <p:nvSpPr>
          <p:cNvPr id="17" name="Subtitle 2"/>
          <p:cNvSpPr txBox="1">
            <a:spLocks/>
          </p:cNvSpPr>
          <p:nvPr userDrawn="1"/>
        </p:nvSpPr>
        <p:spPr>
          <a:xfrm>
            <a:off x="2916140" y="4351409"/>
            <a:ext cx="9144000" cy="2341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rgbClr val="B5217E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US" sz="160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t>Denise Duncan / Director, Enablement Services / </a:t>
            </a:r>
            <a:fld id="{3131BDA8-0BB6-4307-A0EC-932C57A2C0CA}" type="datetime3">
              <a:rPr lang="en-US" sz="1600" smtClean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pPr defTabSz="914377">
                <a:spcBef>
                  <a:spcPts val="1000"/>
                </a:spcBef>
                <a:defRPr/>
              </a:pPr>
              <a:t>24 January 2018</a:t>
            </a:fld>
            <a:endParaRPr lang="en-US" sz="1600">
              <a:solidFill>
                <a:srgbClr val="00395A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4"/>
            <a:ext cx="2148811" cy="406841"/>
          </a:xfrm>
          <a:prstGeom prst="rect">
            <a:avLst/>
          </a:prstGeom>
        </p:spPr>
      </p:pic>
      <p:sp>
        <p:nvSpPr>
          <p:cNvPr id="20" name="Right Triangle 19"/>
          <p:cNvSpPr/>
          <p:nvPr userDrawn="1"/>
        </p:nvSpPr>
        <p:spPr>
          <a:xfrm rot="10800000" flipH="1">
            <a:off x="-31294" y="-14285"/>
            <a:ext cx="6738111" cy="3681221"/>
          </a:xfrm>
          <a:custGeom>
            <a:avLst/>
            <a:gdLst>
              <a:gd name="connsiteX0" fmla="*/ 0 w 5913047"/>
              <a:gd name="connsiteY0" fmla="*/ 3980599 h 3980599"/>
              <a:gd name="connsiteX1" fmla="*/ 0 w 5913047"/>
              <a:gd name="connsiteY1" fmla="*/ 0 h 3980599"/>
              <a:gd name="connsiteX2" fmla="*/ 5913047 w 5913047"/>
              <a:gd name="connsiteY2" fmla="*/ 3980599 h 3980599"/>
              <a:gd name="connsiteX3" fmla="*/ 0 w 5913047"/>
              <a:gd name="connsiteY3" fmla="*/ 3980599 h 3980599"/>
              <a:gd name="connsiteX0" fmla="*/ 0 w 6956034"/>
              <a:gd name="connsiteY0" fmla="*/ 3980599 h 3980599"/>
              <a:gd name="connsiteX1" fmla="*/ 0 w 6956034"/>
              <a:gd name="connsiteY1" fmla="*/ 0 h 3980599"/>
              <a:gd name="connsiteX2" fmla="*/ 6956034 w 6956034"/>
              <a:gd name="connsiteY2" fmla="*/ 3894874 h 3980599"/>
              <a:gd name="connsiteX3" fmla="*/ 0 w 6956034"/>
              <a:gd name="connsiteY3" fmla="*/ 3980599 h 3980599"/>
              <a:gd name="connsiteX0" fmla="*/ 14288 w 6956034"/>
              <a:gd name="connsiteY0" fmla="*/ 3909162 h 3909162"/>
              <a:gd name="connsiteX1" fmla="*/ 0 w 6956034"/>
              <a:gd name="connsiteY1" fmla="*/ 0 h 3909162"/>
              <a:gd name="connsiteX2" fmla="*/ 6956034 w 6956034"/>
              <a:gd name="connsiteY2" fmla="*/ 3894874 h 3909162"/>
              <a:gd name="connsiteX3" fmla="*/ 14288 w 6956034"/>
              <a:gd name="connsiteY3" fmla="*/ 3909162 h 3909162"/>
              <a:gd name="connsiteX0" fmla="*/ 634 w 6942380"/>
              <a:gd name="connsiteY0" fmla="*/ 3837724 h 3837724"/>
              <a:gd name="connsiteX1" fmla="*/ 14921 w 6942380"/>
              <a:gd name="connsiteY1" fmla="*/ 0 h 3837724"/>
              <a:gd name="connsiteX2" fmla="*/ 6942380 w 6942380"/>
              <a:gd name="connsiteY2" fmla="*/ 3823436 h 3837724"/>
              <a:gd name="connsiteX3" fmla="*/ 634 w 6942380"/>
              <a:gd name="connsiteY3" fmla="*/ 3837724 h 3837724"/>
              <a:gd name="connsiteX0" fmla="*/ 414 w 6942160"/>
              <a:gd name="connsiteY0" fmla="*/ 3709136 h 3709136"/>
              <a:gd name="connsiteX1" fmla="*/ 28989 w 6942160"/>
              <a:gd name="connsiteY1" fmla="*/ 0 h 3709136"/>
              <a:gd name="connsiteX2" fmla="*/ 6942160 w 6942160"/>
              <a:gd name="connsiteY2" fmla="*/ 3694848 h 3709136"/>
              <a:gd name="connsiteX3" fmla="*/ 414 w 6942160"/>
              <a:gd name="connsiteY3" fmla="*/ 3709136 h 3709136"/>
              <a:gd name="connsiteX0" fmla="*/ 414 w 6942160"/>
              <a:gd name="connsiteY0" fmla="*/ 3751998 h 3751998"/>
              <a:gd name="connsiteX1" fmla="*/ 28989 w 6942160"/>
              <a:gd name="connsiteY1" fmla="*/ 0 h 3751998"/>
              <a:gd name="connsiteX2" fmla="*/ 6942160 w 6942160"/>
              <a:gd name="connsiteY2" fmla="*/ 3737710 h 3751998"/>
              <a:gd name="connsiteX3" fmla="*/ 414 w 6942160"/>
              <a:gd name="connsiteY3" fmla="*/ 3751998 h 3751998"/>
              <a:gd name="connsiteX0" fmla="*/ 71438 w 7013184"/>
              <a:gd name="connsiteY0" fmla="*/ 3780573 h 3780573"/>
              <a:gd name="connsiteX1" fmla="*/ 0 w 7013184"/>
              <a:gd name="connsiteY1" fmla="*/ 0 h 3780573"/>
              <a:gd name="connsiteX2" fmla="*/ 7013184 w 7013184"/>
              <a:gd name="connsiteY2" fmla="*/ 3766285 h 3780573"/>
              <a:gd name="connsiteX3" fmla="*/ 71438 w 7013184"/>
              <a:gd name="connsiteY3" fmla="*/ 3780573 h 3780573"/>
              <a:gd name="connsiteX0" fmla="*/ 1374 w 7014558"/>
              <a:gd name="connsiteY0" fmla="*/ 3780573 h 3780573"/>
              <a:gd name="connsiteX1" fmla="*/ 1374 w 7014558"/>
              <a:gd name="connsiteY1" fmla="*/ 0 h 3780573"/>
              <a:gd name="connsiteX2" fmla="*/ 7014558 w 7014558"/>
              <a:gd name="connsiteY2" fmla="*/ 3766285 h 3780573"/>
              <a:gd name="connsiteX3" fmla="*/ 1374 w 7014558"/>
              <a:gd name="connsiteY3" fmla="*/ 3780573 h 3780573"/>
              <a:gd name="connsiteX0" fmla="*/ 1374 w 6334075"/>
              <a:gd name="connsiteY0" fmla="*/ 3780573 h 3798182"/>
              <a:gd name="connsiteX1" fmla="*/ 1374 w 6334075"/>
              <a:gd name="connsiteY1" fmla="*/ 0 h 3798182"/>
              <a:gd name="connsiteX2" fmla="*/ 6334075 w 6334075"/>
              <a:gd name="connsiteY2" fmla="*/ 3798182 h 3798182"/>
              <a:gd name="connsiteX3" fmla="*/ 1374 w 6334075"/>
              <a:gd name="connsiteY3" fmla="*/ 3780573 h 3798182"/>
              <a:gd name="connsiteX0" fmla="*/ 1374 w 5058168"/>
              <a:gd name="connsiteY0" fmla="*/ 3780573 h 3883242"/>
              <a:gd name="connsiteX1" fmla="*/ 1374 w 5058168"/>
              <a:gd name="connsiteY1" fmla="*/ 0 h 3883242"/>
              <a:gd name="connsiteX2" fmla="*/ 5058168 w 5058168"/>
              <a:gd name="connsiteY2" fmla="*/ 3883242 h 3883242"/>
              <a:gd name="connsiteX3" fmla="*/ 1374 w 5058168"/>
              <a:gd name="connsiteY3" fmla="*/ 3780573 h 3883242"/>
              <a:gd name="connsiteX0" fmla="*/ 1374 w 3750363"/>
              <a:gd name="connsiteY0" fmla="*/ 3780573 h 3989567"/>
              <a:gd name="connsiteX1" fmla="*/ 1374 w 3750363"/>
              <a:gd name="connsiteY1" fmla="*/ 0 h 3989567"/>
              <a:gd name="connsiteX2" fmla="*/ 3750363 w 3750363"/>
              <a:gd name="connsiteY2" fmla="*/ 3989567 h 3989567"/>
              <a:gd name="connsiteX3" fmla="*/ 1374 w 3750363"/>
              <a:gd name="connsiteY3" fmla="*/ 3780573 h 3989567"/>
              <a:gd name="connsiteX0" fmla="*/ 1374 w 5515368"/>
              <a:gd name="connsiteY0" fmla="*/ 3780573 h 3780573"/>
              <a:gd name="connsiteX1" fmla="*/ 1374 w 5515368"/>
              <a:gd name="connsiteY1" fmla="*/ 0 h 3780573"/>
              <a:gd name="connsiteX2" fmla="*/ 5515368 w 5515368"/>
              <a:gd name="connsiteY2" fmla="*/ 3745018 h 3780573"/>
              <a:gd name="connsiteX3" fmla="*/ 1374 w 5515368"/>
              <a:gd name="connsiteY3" fmla="*/ 3780573 h 3780573"/>
              <a:gd name="connsiteX0" fmla="*/ 1374 w 7429229"/>
              <a:gd name="connsiteY0" fmla="*/ 3780573 h 3780573"/>
              <a:gd name="connsiteX1" fmla="*/ 1374 w 7429229"/>
              <a:gd name="connsiteY1" fmla="*/ 0 h 3780573"/>
              <a:gd name="connsiteX2" fmla="*/ 7429229 w 7429229"/>
              <a:gd name="connsiteY2" fmla="*/ 3766283 h 3780573"/>
              <a:gd name="connsiteX3" fmla="*/ 1374 w 7429229"/>
              <a:gd name="connsiteY3" fmla="*/ 3780573 h 3780573"/>
              <a:gd name="connsiteX0" fmla="*/ 735 w 7428590"/>
              <a:gd name="connsiteY0" fmla="*/ 4003857 h 4003857"/>
              <a:gd name="connsiteX1" fmla="*/ 11367 w 7428590"/>
              <a:gd name="connsiteY1" fmla="*/ 0 h 4003857"/>
              <a:gd name="connsiteX2" fmla="*/ 7428590 w 7428590"/>
              <a:gd name="connsiteY2" fmla="*/ 3989567 h 4003857"/>
              <a:gd name="connsiteX3" fmla="*/ 735 w 7428590"/>
              <a:gd name="connsiteY3" fmla="*/ 4003857 h 4003857"/>
              <a:gd name="connsiteX0" fmla="*/ 1376 w 7418598"/>
              <a:gd name="connsiteY0" fmla="*/ 3855001 h 3989567"/>
              <a:gd name="connsiteX1" fmla="*/ 1375 w 7418598"/>
              <a:gd name="connsiteY1" fmla="*/ 0 h 3989567"/>
              <a:gd name="connsiteX2" fmla="*/ 7418598 w 7418598"/>
              <a:gd name="connsiteY2" fmla="*/ 3989567 h 3989567"/>
              <a:gd name="connsiteX3" fmla="*/ 1376 w 7418598"/>
              <a:gd name="connsiteY3" fmla="*/ 3855001 h 3989567"/>
              <a:gd name="connsiteX0" fmla="*/ 10634 w 7417223"/>
              <a:gd name="connsiteY0" fmla="*/ 3971960 h 3989567"/>
              <a:gd name="connsiteX1" fmla="*/ 0 w 7417223"/>
              <a:gd name="connsiteY1" fmla="*/ 0 h 3989567"/>
              <a:gd name="connsiteX2" fmla="*/ 7417223 w 7417223"/>
              <a:gd name="connsiteY2" fmla="*/ 3989567 h 3989567"/>
              <a:gd name="connsiteX3" fmla="*/ 10634 w 7417223"/>
              <a:gd name="connsiteY3" fmla="*/ 3971960 h 3989567"/>
              <a:gd name="connsiteX0" fmla="*/ 10634 w 6417762"/>
              <a:gd name="connsiteY0" fmla="*/ 3971960 h 3971960"/>
              <a:gd name="connsiteX1" fmla="*/ 0 w 6417762"/>
              <a:gd name="connsiteY1" fmla="*/ 0 h 3971960"/>
              <a:gd name="connsiteX2" fmla="*/ 6417762 w 6417762"/>
              <a:gd name="connsiteY2" fmla="*/ 3649325 h 3971960"/>
              <a:gd name="connsiteX3" fmla="*/ 10634 w 6417762"/>
              <a:gd name="connsiteY3" fmla="*/ 3971960 h 3971960"/>
              <a:gd name="connsiteX0" fmla="*/ 10634 w 5822339"/>
              <a:gd name="connsiteY0" fmla="*/ 3971960 h 3971960"/>
              <a:gd name="connsiteX1" fmla="*/ 0 w 5822339"/>
              <a:gd name="connsiteY1" fmla="*/ 0 h 3971960"/>
              <a:gd name="connsiteX2" fmla="*/ 5822339 w 5822339"/>
              <a:gd name="connsiteY2" fmla="*/ 2713660 h 3971960"/>
              <a:gd name="connsiteX3" fmla="*/ 10634 w 5822339"/>
              <a:gd name="connsiteY3" fmla="*/ 3971960 h 3971960"/>
              <a:gd name="connsiteX0" fmla="*/ 10634 w 6991920"/>
              <a:gd name="connsiteY0" fmla="*/ 3971960 h 3978934"/>
              <a:gd name="connsiteX1" fmla="*/ 0 w 6991920"/>
              <a:gd name="connsiteY1" fmla="*/ 0 h 3978934"/>
              <a:gd name="connsiteX2" fmla="*/ 6991920 w 6991920"/>
              <a:gd name="connsiteY2" fmla="*/ 3978934 h 3978934"/>
              <a:gd name="connsiteX3" fmla="*/ 10634 w 6991920"/>
              <a:gd name="connsiteY3" fmla="*/ 3971960 h 3978934"/>
              <a:gd name="connsiteX0" fmla="*/ 10634 w 6736738"/>
              <a:gd name="connsiteY0" fmla="*/ 3971960 h 3989566"/>
              <a:gd name="connsiteX1" fmla="*/ 0 w 6736738"/>
              <a:gd name="connsiteY1" fmla="*/ 0 h 3989566"/>
              <a:gd name="connsiteX2" fmla="*/ 6736738 w 6736738"/>
              <a:gd name="connsiteY2" fmla="*/ 3989566 h 3989566"/>
              <a:gd name="connsiteX3" fmla="*/ 10634 w 6736738"/>
              <a:gd name="connsiteY3" fmla="*/ 3971960 h 3989566"/>
              <a:gd name="connsiteX0" fmla="*/ 42532 w 6768636"/>
              <a:gd name="connsiteY0" fmla="*/ 3663615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42532 w 6768636"/>
              <a:gd name="connsiteY3" fmla="*/ 3663615 h 3681221"/>
              <a:gd name="connsiteX0" fmla="*/ 21267 w 6768636"/>
              <a:gd name="connsiteY0" fmla="*/ 3674248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21267 w 6768636"/>
              <a:gd name="connsiteY3" fmla="*/ 3674248 h 3681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68636" h="3681221">
                <a:moveTo>
                  <a:pt x="21267" y="3674248"/>
                </a:moveTo>
                <a:cubicBezTo>
                  <a:pt x="16504" y="2371194"/>
                  <a:pt x="4763" y="1303054"/>
                  <a:pt x="0" y="0"/>
                </a:cubicBezTo>
                <a:lnTo>
                  <a:pt x="6768636" y="3681221"/>
                </a:lnTo>
                <a:lnTo>
                  <a:pt x="21267" y="3674248"/>
                </a:lnTo>
                <a:close/>
              </a:path>
            </a:pathLst>
          </a:custGeom>
          <a:solidFill>
            <a:srgbClr val="00395A"/>
          </a:solidFill>
          <a:ln>
            <a:noFill/>
          </a:ln>
          <a:effectLst>
            <a:outerShdw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creen 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B521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Divider Screen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utlin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solidFill>
                  <a:srgbClr val="B5217E"/>
                </a:solidFill>
                <a:latin typeface="+mn-lt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ontent head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8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>
                <a:latin typeface="+mn-lt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baseline="0">
                <a:latin typeface="+mn-lt"/>
              </a:defRPr>
            </a:lvl4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32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creen 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003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Divider Screen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utlin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solidFill>
                  <a:srgbClr val="B5217E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ontent Head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lnSpc>
                <a:spcPct val="150000"/>
              </a:lnSpc>
              <a:defRPr sz="24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spum</a:t>
            </a:r>
            <a:r>
              <a:rPr lang="en-US" dirty="0"/>
              <a:t> dolor</a:t>
            </a:r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</a:t>
            </a:r>
            <a:endParaRPr lang="en-US" dirty="0"/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Out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solidFill>
                  <a:srgbClr val="B5217E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ontent Head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9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4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spum</a:t>
            </a:r>
            <a:r>
              <a:rPr lang="en-US" dirty="0"/>
              <a:t> dolor</a:t>
            </a:r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</a:t>
            </a:r>
            <a:endParaRPr lang="en-US" dirty="0"/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9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4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spum</a:t>
            </a:r>
            <a:r>
              <a:rPr lang="en-US" dirty="0"/>
              <a:t> dolor</a:t>
            </a:r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</a:t>
            </a:r>
            <a:endParaRPr lang="en-US" dirty="0"/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creens Dark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003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7" y="5895602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7" y="457198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947" y="703880"/>
            <a:ext cx="7986713" cy="4900329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Screens Dark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003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7" y="5895602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7" y="457198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creens Light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7" y="5895602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7" y="457198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947" y="703880"/>
            <a:ext cx="7986713" cy="4900329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>
            <a:off x="600075" y="5738436"/>
            <a:ext cx="10972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Screens Light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7" y="5895602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7" y="457198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0075" y="5738436"/>
            <a:ext cx="10972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you Screen w/ PS Graphic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7036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 err="1"/>
              <a:t>www.crownpeak.co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4"/>
            <a:ext cx="2148811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you Screen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/>
          <p:nvPr userDrawn="1"/>
        </p:nvSpPr>
        <p:spPr>
          <a:xfrm>
            <a:off x="605" y="-14288"/>
            <a:ext cx="12191395" cy="6886576"/>
          </a:xfrm>
          <a:custGeom>
            <a:avLst/>
            <a:gdLst>
              <a:gd name="connsiteX0" fmla="*/ 0 w 12191395"/>
              <a:gd name="connsiteY0" fmla="*/ 0 h 6886576"/>
              <a:gd name="connsiteX1" fmla="*/ 12191395 w 12191395"/>
              <a:gd name="connsiteY1" fmla="*/ 0 h 6886576"/>
              <a:gd name="connsiteX2" fmla="*/ 12191395 w 12191395"/>
              <a:gd name="connsiteY2" fmla="*/ 6886576 h 6886576"/>
              <a:gd name="connsiteX3" fmla="*/ 0 w 12191395"/>
              <a:gd name="connsiteY3" fmla="*/ 6886576 h 6886576"/>
              <a:gd name="connsiteX4" fmla="*/ 0 w 12191395"/>
              <a:gd name="connsiteY4" fmla="*/ 0 h 6886576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12191395 w 12191395"/>
              <a:gd name="connsiteY2" fmla="*/ 6900863 h 6900863"/>
              <a:gd name="connsiteX3" fmla="*/ 0 w 12191395"/>
              <a:gd name="connsiteY3" fmla="*/ 6900863 h 6900863"/>
              <a:gd name="connsiteX4" fmla="*/ 0 w 12191395"/>
              <a:gd name="connsiteY4" fmla="*/ 14287 h 6900863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9900633 w 12191395"/>
              <a:gd name="connsiteY2" fmla="*/ 2871788 h 6900863"/>
              <a:gd name="connsiteX3" fmla="*/ 12191395 w 12191395"/>
              <a:gd name="connsiteY3" fmla="*/ 6900863 h 6900863"/>
              <a:gd name="connsiteX4" fmla="*/ 0 w 12191395"/>
              <a:gd name="connsiteY4" fmla="*/ 6900863 h 6900863"/>
              <a:gd name="connsiteX5" fmla="*/ 0 w 12191395"/>
              <a:gd name="connsiteY5" fmla="*/ 14287 h 6900863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12186633 w 12191395"/>
              <a:gd name="connsiteY2" fmla="*/ 2828926 h 6900863"/>
              <a:gd name="connsiteX3" fmla="*/ 12191395 w 12191395"/>
              <a:gd name="connsiteY3" fmla="*/ 6900863 h 6900863"/>
              <a:gd name="connsiteX4" fmla="*/ 0 w 12191395"/>
              <a:gd name="connsiteY4" fmla="*/ 6900863 h 6900863"/>
              <a:gd name="connsiteX5" fmla="*/ 0 w 12191395"/>
              <a:gd name="connsiteY5" fmla="*/ 14287 h 6900863"/>
              <a:gd name="connsiteX0" fmla="*/ 0 w 12191395"/>
              <a:gd name="connsiteY0" fmla="*/ 0 h 6886576"/>
              <a:gd name="connsiteX1" fmla="*/ 7505095 w 12191395"/>
              <a:gd name="connsiteY1" fmla="*/ 14288 h 6886576"/>
              <a:gd name="connsiteX2" fmla="*/ 12186633 w 12191395"/>
              <a:gd name="connsiteY2" fmla="*/ 2814639 h 6886576"/>
              <a:gd name="connsiteX3" fmla="*/ 12191395 w 12191395"/>
              <a:gd name="connsiteY3" fmla="*/ 6886576 h 6886576"/>
              <a:gd name="connsiteX4" fmla="*/ 0 w 12191395"/>
              <a:gd name="connsiteY4" fmla="*/ 6886576 h 6886576"/>
              <a:gd name="connsiteX5" fmla="*/ 0 w 12191395"/>
              <a:gd name="connsiteY5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1395" h="6886576">
                <a:moveTo>
                  <a:pt x="0" y="0"/>
                </a:moveTo>
                <a:lnTo>
                  <a:pt x="7505095" y="14288"/>
                </a:lnTo>
                <a:lnTo>
                  <a:pt x="12186633" y="2814639"/>
                </a:lnTo>
                <a:cubicBezTo>
                  <a:pt x="12188220" y="4171951"/>
                  <a:pt x="12189808" y="5529264"/>
                  <a:pt x="12191395" y="6886576"/>
                </a:cubicBezTo>
                <a:lnTo>
                  <a:pt x="0" y="688657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 err="1"/>
              <a:t>www.crownpeak.co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4"/>
            <a:ext cx="2148811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/>
            <a:endParaRPr lang="en-US" sz="1800" ker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/>
            <a:endParaRPr lang="en-US" sz="1800" ker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/>
            <a:fld id="{B6195397-5482-F245-8ABB-32E8412BBEEF}" type="slidenum">
              <a:rPr lang="en-US" sz="1800" kern="0" smtClean="0">
                <a:solidFill>
                  <a:srgbClr val="000000">
                    <a:tint val="75000"/>
                  </a:srgbClr>
                </a:solidFill>
              </a:rPr>
              <a:pPr defTabSz="914377"/>
              <a:t>‹#›</a:t>
            </a:fld>
            <a:endParaRPr lang="en-US" sz="1800" ker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2569" y="415624"/>
            <a:ext cx="9358603" cy="304699"/>
          </a:xfrm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chemeClr val="accent1"/>
                </a:solidFill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52569" y="134398"/>
            <a:ext cx="9358603" cy="293927"/>
          </a:xfrm>
        </p:spPr>
        <p:txBody>
          <a:bodyPr/>
          <a:lstStyle>
            <a:lvl1pPr>
              <a:defRPr b="1">
                <a:solidFill>
                  <a:srgbClr val="68707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276817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utlin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solidFill>
                  <a:srgbClr val="B5217E"/>
                </a:solidFill>
                <a:latin typeface="+mn-lt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ontent head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8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>
                <a:latin typeface="+mn-lt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baseline="0">
                <a:latin typeface="+mn-lt"/>
              </a:defRPr>
            </a:lvl4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1690688"/>
            <a:ext cx="12192000" cy="5167312"/>
          </a:xfrm>
          <a:prstGeom prst="rect">
            <a:avLst/>
          </a:prstGeom>
          <a:gradFill>
            <a:gsLst>
              <a:gs pos="0">
                <a:schemeClr val="tx1">
                  <a:lumMod val="90000"/>
                  <a:lumOff val="10000"/>
                </a:schemeClr>
              </a:gs>
              <a:gs pos="54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rgbClr val="001A2A"/>
              </a:gs>
            </a:gsLst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0061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/>
          <p:nvPr/>
        </p:nvSpPr>
        <p:spPr>
          <a:xfrm>
            <a:off x="-6350" y="22226"/>
            <a:ext cx="12204700" cy="8274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4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sz="16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8" name="Shape 48"/>
          <p:cNvSpPr>
            <a:spLocks noGrp="1"/>
          </p:cNvSpPr>
          <p:nvPr>
            <p:ph type="sldNum" sz="quarter" idx="2"/>
          </p:nvPr>
        </p:nvSpPr>
        <p:spPr>
          <a:xfrm>
            <a:off x="11638746" y="6364631"/>
            <a:ext cx="198772" cy="177100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algn="ctr">
              <a:defRPr sz="1151" b="0">
                <a:solidFill>
                  <a:srgbClr val="000000"/>
                </a:solidFill>
                <a:latin typeface="Seravek Light"/>
                <a:ea typeface="Seravek Light"/>
                <a:cs typeface="Seravek Light"/>
                <a:sym typeface="Seravek Light"/>
              </a:defRPr>
            </a:lvl1pPr>
          </a:lstStyle>
          <a:p>
            <a:pPr defTabSz="412740"/>
            <a:fld id="{86CB4B4D-7CA3-9044-876B-883B54F8677D}" type="slidenum">
              <a:rPr lang="en-US" kern="0" smtClean="0"/>
              <a:pPr defTabSz="412740"/>
              <a:t>‹#›</a:t>
            </a:fld>
            <a:endParaRPr lang="en-US" kern="0"/>
          </a:p>
        </p:txBody>
      </p:sp>
      <p:sp>
        <p:nvSpPr>
          <p:cNvPr id="49" name="Shape 49"/>
          <p:cNvSpPr>
            <a:spLocks noGrp="1"/>
          </p:cNvSpPr>
          <p:nvPr>
            <p:ph type="title"/>
          </p:nvPr>
        </p:nvSpPr>
        <p:spPr>
          <a:xfrm>
            <a:off x="453871" y="251806"/>
            <a:ext cx="2092552" cy="36830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900" b="1" cap="all">
                <a:solidFill>
                  <a:srgbClr val="3B3D40"/>
                </a:solidFill>
                <a:latin typeface="Neris Black"/>
                <a:ea typeface="Neris Black"/>
                <a:cs typeface="Neris Black"/>
                <a:sym typeface="Neris Black"/>
              </a:defRPr>
            </a:lvl1pPr>
          </a:lstStyle>
          <a:p>
            <a:pPr lvl="0">
              <a:defRPr sz="1800" b="0" cap="none">
                <a:solidFill>
                  <a:srgbClr val="000000"/>
                </a:solidFill>
              </a:defRPr>
            </a:pPr>
            <a:r>
              <a:rPr sz="1851" b="1" cap="all">
                <a:solidFill>
                  <a:srgbClr val="3B3D40"/>
                </a:solidFill>
              </a:rPr>
              <a:t>Title Text</a:t>
            </a:r>
          </a:p>
        </p:txBody>
      </p:sp>
      <p:sp>
        <p:nvSpPr>
          <p:cNvPr id="9" name="Shape 39"/>
          <p:cNvSpPr/>
          <p:nvPr userDrawn="1"/>
        </p:nvSpPr>
        <p:spPr>
          <a:xfrm>
            <a:off x="-6349" y="-3174"/>
            <a:ext cx="12204701" cy="59436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75000"/>
                </a:schemeClr>
              </a:gs>
            </a:gsLst>
          </a:gra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4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sz="1600" kern="0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0" name="Picture 9" descr="Logo-Full-NoTag-Light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69577" y="251805"/>
            <a:ext cx="1771561" cy="315416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32667" y="274639"/>
            <a:ext cx="9059333" cy="1143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ACB6-83AD-C64A-9DF7-000AC6D9CE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365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32667" y="274639"/>
            <a:ext cx="9059333" cy="1143000"/>
          </a:xfrm>
        </p:spPr>
        <p:txBody>
          <a:bodyPr/>
          <a:lstStyle>
            <a:lvl1pPr>
              <a:defRPr sz="3733"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ACB6-83AD-C64A-9DF7-000AC6D9CE9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58289" y="6356352"/>
            <a:ext cx="5143795" cy="486833"/>
          </a:xfrm>
        </p:spPr>
        <p:txBody>
          <a:bodyPr/>
          <a:lstStyle>
            <a:lvl1pPr>
              <a:defRPr>
                <a:latin typeface="Neris Light" panose="00000400000000000000" pitchFamily="50" charset="0"/>
              </a:defRPr>
            </a:lvl1pPr>
          </a:lstStyle>
          <a:p>
            <a:r>
              <a:rPr lang="en-US" smtClean="0"/>
              <a:t>Proprietary and Confidential - All Rights Reserv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040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32667" y="274639"/>
            <a:ext cx="9059333" cy="1143000"/>
          </a:xfrm>
        </p:spPr>
        <p:txBody>
          <a:bodyPr/>
          <a:lstStyle>
            <a:lvl1pPr>
              <a:defRPr sz="3733"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ACB6-83AD-C64A-9DF7-000AC6D9CE9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58289" y="6356352"/>
            <a:ext cx="5143795" cy="486833"/>
          </a:xfrm>
        </p:spPr>
        <p:txBody>
          <a:bodyPr/>
          <a:lstStyle>
            <a:lvl1pPr>
              <a:defRPr>
                <a:latin typeface="Neris Light" panose="00000400000000000000" pitchFamily="50" charset="0"/>
              </a:defRPr>
            </a:lvl1pPr>
          </a:lstStyle>
          <a:p>
            <a:r>
              <a:rPr lang="en-US" smtClean="0"/>
              <a:t>Proprietary and Confidential - All Rights Reserv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772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creen w/ PS Graphic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68" y="2171"/>
            <a:ext cx="674995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Calibri" charset="0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sp>
        <p:nvSpPr>
          <p:cNvPr id="17" name="Subtitle 2"/>
          <p:cNvSpPr txBox="1">
            <a:spLocks/>
          </p:cNvSpPr>
          <p:nvPr userDrawn="1"/>
        </p:nvSpPr>
        <p:spPr>
          <a:xfrm>
            <a:off x="2916140" y="4351409"/>
            <a:ext cx="9144000" cy="2341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rgbClr val="B5217E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US" sz="160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t>Denise Duncan / Director, Enablement Services / </a:t>
            </a:r>
            <a:fld id="{35902B22-8956-46D5-824C-D7C7DC1E9C2E}" type="datetime3">
              <a:rPr lang="en-US" sz="1600" smtClean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pPr defTabSz="914377">
                <a:spcBef>
                  <a:spcPts val="1000"/>
                </a:spcBef>
                <a:defRPr/>
              </a:pPr>
              <a:t>24 January 2018</a:t>
            </a:fld>
            <a:endParaRPr lang="en-US" sz="1600">
              <a:solidFill>
                <a:srgbClr val="00395A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4"/>
            <a:ext cx="2148811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creen Magenta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apezoid 11"/>
          <p:cNvSpPr/>
          <p:nvPr userDrawn="1"/>
        </p:nvSpPr>
        <p:spPr>
          <a:xfrm>
            <a:off x="-31293" y="-1483"/>
            <a:ext cx="6121119" cy="6870116"/>
          </a:xfrm>
          <a:custGeom>
            <a:avLst/>
            <a:gdLst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254681 w 4339575"/>
              <a:gd name="connsiteY2" fmla="*/ 0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305481 w 4339575"/>
              <a:gd name="connsiteY2" fmla="*/ 135466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1150306 w 5489881"/>
              <a:gd name="connsiteY0" fmla="*/ 6888789 h 6888789"/>
              <a:gd name="connsiteX1" fmla="*/ 0 w 5489881"/>
              <a:gd name="connsiteY1" fmla="*/ 135468 h 6888789"/>
              <a:gd name="connsiteX2" fmla="*/ 4455787 w 5489881"/>
              <a:gd name="connsiteY2" fmla="*/ 0 h 6888789"/>
              <a:gd name="connsiteX3" fmla="*/ 5489881 w 5489881"/>
              <a:gd name="connsiteY3" fmla="*/ 6888789 h 6888789"/>
              <a:gd name="connsiteX4" fmla="*/ 1150306 w 5489881"/>
              <a:gd name="connsiteY4" fmla="*/ 6888789 h 6888789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4472720 w 5489881"/>
              <a:gd name="connsiteY2" fmla="*/ 33865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389920 w 5489881"/>
              <a:gd name="connsiteY2" fmla="*/ 50799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728587 w 5489881"/>
              <a:gd name="connsiteY2" fmla="*/ 33866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87188 h 6787188"/>
              <a:gd name="connsiteX1" fmla="*/ 0 w 5489881"/>
              <a:gd name="connsiteY1" fmla="*/ 33867 h 6787188"/>
              <a:gd name="connsiteX2" fmla="*/ 2711654 w 5489881"/>
              <a:gd name="connsiteY2" fmla="*/ 0 h 6787188"/>
              <a:gd name="connsiteX3" fmla="*/ 5489881 w 5489881"/>
              <a:gd name="connsiteY3" fmla="*/ 6787188 h 6787188"/>
              <a:gd name="connsiteX4" fmla="*/ 1150306 w 5489881"/>
              <a:gd name="connsiteY4" fmla="*/ 6787188 h 6787188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677787 w 5489881"/>
              <a:gd name="connsiteY2" fmla="*/ 16933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6268815"/>
              <a:gd name="connsiteY0" fmla="*/ 6753321 h 6973454"/>
              <a:gd name="connsiteX1" fmla="*/ 0 w 6268815"/>
              <a:gd name="connsiteY1" fmla="*/ 0 h 6973454"/>
              <a:gd name="connsiteX2" fmla="*/ 2677787 w 6268815"/>
              <a:gd name="connsiteY2" fmla="*/ 16933 h 6973454"/>
              <a:gd name="connsiteX3" fmla="*/ 6268815 w 6268815"/>
              <a:gd name="connsiteY3" fmla="*/ 6973454 h 6973454"/>
              <a:gd name="connsiteX4" fmla="*/ 1150306 w 6268815"/>
              <a:gd name="connsiteY4" fmla="*/ 6753321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678947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593886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121119"/>
              <a:gd name="connsiteY0" fmla="*/ 6939587 h 6984196"/>
              <a:gd name="connsiteX1" fmla="*/ 1160 w 6121119"/>
              <a:gd name="connsiteY1" fmla="*/ 0 h 6984196"/>
              <a:gd name="connsiteX2" fmla="*/ 2593886 w 6121119"/>
              <a:gd name="connsiteY2" fmla="*/ 16933 h 6984196"/>
              <a:gd name="connsiteX3" fmla="*/ 6121119 w 6121119"/>
              <a:gd name="connsiteY3" fmla="*/ 6984196 h 6984196"/>
              <a:gd name="connsiteX4" fmla="*/ 0 w 6121119"/>
              <a:gd name="connsiteY4" fmla="*/ 693958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592729 w 6119962"/>
              <a:gd name="connsiteY2" fmla="*/ 16933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624626 w 6119962"/>
              <a:gd name="connsiteY2" fmla="*/ 70647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20112 w 6098700"/>
              <a:gd name="connsiteY0" fmla="*/ 6939587 h 6941226"/>
              <a:gd name="connsiteX1" fmla="*/ 6 w 6098700"/>
              <a:gd name="connsiteY1" fmla="*/ 0 h 6941226"/>
              <a:gd name="connsiteX2" fmla="*/ 2603364 w 6098700"/>
              <a:gd name="connsiteY2" fmla="*/ 27677 h 6941226"/>
              <a:gd name="connsiteX3" fmla="*/ 6098700 w 6098700"/>
              <a:gd name="connsiteY3" fmla="*/ 6941226 h 6941226"/>
              <a:gd name="connsiteX4" fmla="*/ 20112 w 6098700"/>
              <a:gd name="connsiteY4" fmla="*/ 6939587 h 6941226"/>
              <a:gd name="connsiteX0" fmla="*/ 0 w 6121119"/>
              <a:gd name="connsiteY0" fmla="*/ 6918102 h 6941226"/>
              <a:gd name="connsiteX1" fmla="*/ 22425 w 6121119"/>
              <a:gd name="connsiteY1" fmla="*/ 0 h 6941226"/>
              <a:gd name="connsiteX2" fmla="*/ 2625783 w 6121119"/>
              <a:gd name="connsiteY2" fmla="*/ 27677 h 6941226"/>
              <a:gd name="connsiteX3" fmla="*/ 6121119 w 6121119"/>
              <a:gd name="connsiteY3" fmla="*/ 6941226 h 6941226"/>
              <a:gd name="connsiteX4" fmla="*/ 0 w 6121119"/>
              <a:gd name="connsiteY4" fmla="*/ 6918102 h 6941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1119" h="6941226">
                <a:moveTo>
                  <a:pt x="0" y="6918102"/>
                </a:moveTo>
                <a:cubicBezTo>
                  <a:pt x="387" y="4604906"/>
                  <a:pt x="22038" y="2313196"/>
                  <a:pt x="22425" y="0"/>
                </a:cubicBezTo>
                <a:lnTo>
                  <a:pt x="2625783" y="27677"/>
                </a:lnTo>
                <a:lnTo>
                  <a:pt x="6121119" y="6941226"/>
                </a:lnTo>
                <a:lnTo>
                  <a:pt x="0" y="6918102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Calibri" charset="0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sp>
        <p:nvSpPr>
          <p:cNvPr id="17" name="Subtitle 2"/>
          <p:cNvSpPr txBox="1">
            <a:spLocks/>
          </p:cNvSpPr>
          <p:nvPr userDrawn="1"/>
        </p:nvSpPr>
        <p:spPr>
          <a:xfrm>
            <a:off x="2916140" y="4351409"/>
            <a:ext cx="9144000" cy="2341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rgbClr val="B5217E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US" sz="160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t>Denise Duncan / Director, Enablement Services / </a:t>
            </a:r>
            <a:fld id="{E354890E-E41F-4ECD-B53C-931DF6A975CF}" type="datetime3">
              <a:rPr lang="en-US" sz="1600" smtClean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pPr defTabSz="914377">
                <a:spcBef>
                  <a:spcPts val="1000"/>
                </a:spcBef>
                <a:defRPr/>
              </a:pPr>
              <a:t>24 January 2018</a:t>
            </a:fld>
            <a:endParaRPr lang="en-US" sz="1600">
              <a:solidFill>
                <a:srgbClr val="00395A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4"/>
            <a:ext cx="2148811" cy="406841"/>
          </a:xfrm>
          <a:prstGeom prst="rect">
            <a:avLst/>
          </a:prstGeom>
        </p:spPr>
      </p:pic>
      <p:sp>
        <p:nvSpPr>
          <p:cNvPr id="20" name="Right Triangle 19"/>
          <p:cNvSpPr/>
          <p:nvPr userDrawn="1"/>
        </p:nvSpPr>
        <p:spPr>
          <a:xfrm rot="10800000" flipH="1">
            <a:off x="-31294" y="-14285"/>
            <a:ext cx="6738111" cy="3681221"/>
          </a:xfrm>
          <a:custGeom>
            <a:avLst/>
            <a:gdLst>
              <a:gd name="connsiteX0" fmla="*/ 0 w 5913047"/>
              <a:gd name="connsiteY0" fmla="*/ 3980599 h 3980599"/>
              <a:gd name="connsiteX1" fmla="*/ 0 w 5913047"/>
              <a:gd name="connsiteY1" fmla="*/ 0 h 3980599"/>
              <a:gd name="connsiteX2" fmla="*/ 5913047 w 5913047"/>
              <a:gd name="connsiteY2" fmla="*/ 3980599 h 3980599"/>
              <a:gd name="connsiteX3" fmla="*/ 0 w 5913047"/>
              <a:gd name="connsiteY3" fmla="*/ 3980599 h 3980599"/>
              <a:gd name="connsiteX0" fmla="*/ 0 w 6956034"/>
              <a:gd name="connsiteY0" fmla="*/ 3980599 h 3980599"/>
              <a:gd name="connsiteX1" fmla="*/ 0 w 6956034"/>
              <a:gd name="connsiteY1" fmla="*/ 0 h 3980599"/>
              <a:gd name="connsiteX2" fmla="*/ 6956034 w 6956034"/>
              <a:gd name="connsiteY2" fmla="*/ 3894874 h 3980599"/>
              <a:gd name="connsiteX3" fmla="*/ 0 w 6956034"/>
              <a:gd name="connsiteY3" fmla="*/ 3980599 h 3980599"/>
              <a:gd name="connsiteX0" fmla="*/ 14288 w 6956034"/>
              <a:gd name="connsiteY0" fmla="*/ 3909162 h 3909162"/>
              <a:gd name="connsiteX1" fmla="*/ 0 w 6956034"/>
              <a:gd name="connsiteY1" fmla="*/ 0 h 3909162"/>
              <a:gd name="connsiteX2" fmla="*/ 6956034 w 6956034"/>
              <a:gd name="connsiteY2" fmla="*/ 3894874 h 3909162"/>
              <a:gd name="connsiteX3" fmla="*/ 14288 w 6956034"/>
              <a:gd name="connsiteY3" fmla="*/ 3909162 h 3909162"/>
              <a:gd name="connsiteX0" fmla="*/ 634 w 6942380"/>
              <a:gd name="connsiteY0" fmla="*/ 3837724 h 3837724"/>
              <a:gd name="connsiteX1" fmla="*/ 14921 w 6942380"/>
              <a:gd name="connsiteY1" fmla="*/ 0 h 3837724"/>
              <a:gd name="connsiteX2" fmla="*/ 6942380 w 6942380"/>
              <a:gd name="connsiteY2" fmla="*/ 3823436 h 3837724"/>
              <a:gd name="connsiteX3" fmla="*/ 634 w 6942380"/>
              <a:gd name="connsiteY3" fmla="*/ 3837724 h 3837724"/>
              <a:gd name="connsiteX0" fmla="*/ 414 w 6942160"/>
              <a:gd name="connsiteY0" fmla="*/ 3709136 h 3709136"/>
              <a:gd name="connsiteX1" fmla="*/ 28989 w 6942160"/>
              <a:gd name="connsiteY1" fmla="*/ 0 h 3709136"/>
              <a:gd name="connsiteX2" fmla="*/ 6942160 w 6942160"/>
              <a:gd name="connsiteY2" fmla="*/ 3694848 h 3709136"/>
              <a:gd name="connsiteX3" fmla="*/ 414 w 6942160"/>
              <a:gd name="connsiteY3" fmla="*/ 3709136 h 3709136"/>
              <a:gd name="connsiteX0" fmla="*/ 414 w 6942160"/>
              <a:gd name="connsiteY0" fmla="*/ 3751998 h 3751998"/>
              <a:gd name="connsiteX1" fmla="*/ 28989 w 6942160"/>
              <a:gd name="connsiteY1" fmla="*/ 0 h 3751998"/>
              <a:gd name="connsiteX2" fmla="*/ 6942160 w 6942160"/>
              <a:gd name="connsiteY2" fmla="*/ 3737710 h 3751998"/>
              <a:gd name="connsiteX3" fmla="*/ 414 w 6942160"/>
              <a:gd name="connsiteY3" fmla="*/ 3751998 h 3751998"/>
              <a:gd name="connsiteX0" fmla="*/ 71438 w 7013184"/>
              <a:gd name="connsiteY0" fmla="*/ 3780573 h 3780573"/>
              <a:gd name="connsiteX1" fmla="*/ 0 w 7013184"/>
              <a:gd name="connsiteY1" fmla="*/ 0 h 3780573"/>
              <a:gd name="connsiteX2" fmla="*/ 7013184 w 7013184"/>
              <a:gd name="connsiteY2" fmla="*/ 3766285 h 3780573"/>
              <a:gd name="connsiteX3" fmla="*/ 71438 w 7013184"/>
              <a:gd name="connsiteY3" fmla="*/ 3780573 h 3780573"/>
              <a:gd name="connsiteX0" fmla="*/ 1374 w 7014558"/>
              <a:gd name="connsiteY0" fmla="*/ 3780573 h 3780573"/>
              <a:gd name="connsiteX1" fmla="*/ 1374 w 7014558"/>
              <a:gd name="connsiteY1" fmla="*/ 0 h 3780573"/>
              <a:gd name="connsiteX2" fmla="*/ 7014558 w 7014558"/>
              <a:gd name="connsiteY2" fmla="*/ 3766285 h 3780573"/>
              <a:gd name="connsiteX3" fmla="*/ 1374 w 7014558"/>
              <a:gd name="connsiteY3" fmla="*/ 3780573 h 3780573"/>
              <a:gd name="connsiteX0" fmla="*/ 1374 w 6334075"/>
              <a:gd name="connsiteY0" fmla="*/ 3780573 h 3798182"/>
              <a:gd name="connsiteX1" fmla="*/ 1374 w 6334075"/>
              <a:gd name="connsiteY1" fmla="*/ 0 h 3798182"/>
              <a:gd name="connsiteX2" fmla="*/ 6334075 w 6334075"/>
              <a:gd name="connsiteY2" fmla="*/ 3798182 h 3798182"/>
              <a:gd name="connsiteX3" fmla="*/ 1374 w 6334075"/>
              <a:gd name="connsiteY3" fmla="*/ 3780573 h 3798182"/>
              <a:gd name="connsiteX0" fmla="*/ 1374 w 5058168"/>
              <a:gd name="connsiteY0" fmla="*/ 3780573 h 3883242"/>
              <a:gd name="connsiteX1" fmla="*/ 1374 w 5058168"/>
              <a:gd name="connsiteY1" fmla="*/ 0 h 3883242"/>
              <a:gd name="connsiteX2" fmla="*/ 5058168 w 5058168"/>
              <a:gd name="connsiteY2" fmla="*/ 3883242 h 3883242"/>
              <a:gd name="connsiteX3" fmla="*/ 1374 w 5058168"/>
              <a:gd name="connsiteY3" fmla="*/ 3780573 h 3883242"/>
              <a:gd name="connsiteX0" fmla="*/ 1374 w 3750363"/>
              <a:gd name="connsiteY0" fmla="*/ 3780573 h 3989567"/>
              <a:gd name="connsiteX1" fmla="*/ 1374 w 3750363"/>
              <a:gd name="connsiteY1" fmla="*/ 0 h 3989567"/>
              <a:gd name="connsiteX2" fmla="*/ 3750363 w 3750363"/>
              <a:gd name="connsiteY2" fmla="*/ 3989567 h 3989567"/>
              <a:gd name="connsiteX3" fmla="*/ 1374 w 3750363"/>
              <a:gd name="connsiteY3" fmla="*/ 3780573 h 3989567"/>
              <a:gd name="connsiteX0" fmla="*/ 1374 w 5515368"/>
              <a:gd name="connsiteY0" fmla="*/ 3780573 h 3780573"/>
              <a:gd name="connsiteX1" fmla="*/ 1374 w 5515368"/>
              <a:gd name="connsiteY1" fmla="*/ 0 h 3780573"/>
              <a:gd name="connsiteX2" fmla="*/ 5515368 w 5515368"/>
              <a:gd name="connsiteY2" fmla="*/ 3745018 h 3780573"/>
              <a:gd name="connsiteX3" fmla="*/ 1374 w 5515368"/>
              <a:gd name="connsiteY3" fmla="*/ 3780573 h 3780573"/>
              <a:gd name="connsiteX0" fmla="*/ 1374 w 7429229"/>
              <a:gd name="connsiteY0" fmla="*/ 3780573 h 3780573"/>
              <a:gd name="connsiteX1" fmla="*/ 1374 w 7429229"/>
              <a:gd name="connsiteY1" fmla="*/ 0 h 3780573"/>
              <a:gd name="connsiteX2" fmla="*/ 7429229 w 7429229"/>
              <a:gd name="connsiteY2" fmla="*/ 3766283 h 3780573"/>
              <a:gd name="connsiteX3" fmla="*/ 1374 w 7429229"/>
              <a:gd name="connsiteY3" fmla="*/ 3780573 h 3780573"/>
              <a:gd name="connsiteX0" fmla="*/ 735 w 7428590"/>
              <a:gd name="connsiteY0" fmla="*/ 4003857 h 4003857"/>
              <a:gd name="connsiteX1" fmla="*/ 11367 w 7428590"/>
              <a:gd name="connsiteY1" fmla="*/ 0 h 4003857"/>
              <a:gd name="connsiteX2" fmla="*/ 7428590 w 7428590"/>
              <a:gd name="connsiteY2" fmla="*/ 3989567 h 4003857"/>
              <a:gd name="connsiteX3" fmla="*/ 735 w 7428590"/>
              <a:gd name="connsiteY3" fmla="*/ 4003857 h 4003857"/>
              <a:gd name="connsiteX0" fmla="*/ 1376 w 7418598"/>
              <a:gd name="connsiteY0" fmla="*/ 3855001 h 3989567"/>
              <a:gd name="connsiteX1" fmla="*/ 1375 w 7418598"/>
              <a:gd name="connsiteY1" fmla="*/ 0 h 3989567"/>
              <a:gd name="connsiteX2" fmla="*/ 7418598 w 7418598"/>
              <a:gd name="connsiteY2" fmla="*/ 3989567 h 3989567"/>
              <a:gd name="connsiteX3" fmla="*/ 1376 w 7418598"/>
              <a:gd name="connsiteY3" fmla="*/ 3855001 h 3989567"/>
              <a:gd name="connsiteX0" fmla="*/ 10634 w 7417223"/>
              <a:gd name="connsiteY0" fmla="*/ 3971960 h 3989567"/>
              <a:gd name="connsiteX1" fmla="*/ 0 w 7417223"/>
              <a:gd name="connsiteY1" fmla="*/ 0 h 3989567"/>
              <a:gd name="connsiteX2" fmla="*/ 7417223 w 7417223"/>
              <a:gd name="connsiteY2" fmla="*/ 3989567 h 3989567"/>
              <a:gd name="connsiteX3" fmla="*/ 10634 w 7417223"/>
              <a:gd name="connsiteY3" fmla="*/ 3971960 h 3989567"/>
              <a:gd name="connsiteX0" fmla="*/ 10634 w 6417762"/>
              <a:gd name="connsiteY0" fmla="*/ 3971960 h 3971960"/>
              <a:gd name="connsiteX1" fmla="*/ 0 w 6417762"/>
              <a:gd name="connsiteY1" fmla="*/ 0 h 3971960"/>
              <a:gd name="connsiteX2" fmla="*/ 6417762 w 6417762"/>
              <a:gd name="connsiteY2" fmla="*/ 3649325 h 3971960"/>
              <a:gd name="connsiteX3" fmla="*/ 10634 w 6417762"/>
              <a:gd name="connsiteY3" fmla="*/ 3971960 h 3971960"/>
              <a:gd name="connsiteX0" fmla="*/ 10634 w 5822339"/>
              <a:gd name="connsiteY0" fmla="*/ 3971960 h 3971960"/>
              <a:gd name="connsiteX1" fmla="*/ 0 w 5822339"/>
              <a:gd name="connsiteY1" fmla="*/ 0 h 3971960"/>
              <a:gd name="connsiteX2" fmla="*/ 5822339 w 5822339"/>
              <a:gd name="connsiteY2" fmla="*/ 2713660 h 3971960"/>
              <a:gd name="connsiteX3" fmla="*/ 10634 w 5822339"/>
              <a:gd name="connsiteY3" fmla="*/ 3971960 h 3971960"/>
              <a:gd name="connsiteX0" fmla="*/ 10634 w 6991920"/>
              <a:gd name="connsiteY0" fmla="*/ 3971960 h 3978934"/>
              <a:gd name="connsiteX1" fmla="*/ 0 w 6991920"/>
              <a:gd name="connsiteY1" fmla="*/ 0 h 3978934"/>
              <a:gd name="connsiteX2" fmla="*/ 6991920 w 6991920"/>
              <a:gd name="connsiteY2" fmla="*/ 3978934 h 3978934"/>
              <a:gd name="connsiteX3" fmla="*/ 10634 w 6991920"/>
              <a:gd name="connsiteY3" fmla="*/ 3971960 h 3978934"/>
              <a:gd name="connsiteX0" fmla="*/ 10634 w 6736738"/>
              <a:gd name="connsiteY0" fmla="*/ 3971960 h 3989566"/>
              <a:gd name="connsiteX1" fmla="*/ 0 w 6736738"/>
              <a:gd name="connsiteY1" fmla="*/ 0 h 3989566"/>
              <a:gd name="connsiteX2" fmla="*/ 6736738 w 6736738"/>
              <a:gd name="connsiteY2" fmla="*/ 3989566 h 3989566"/>
              <a:gd name="connsiteX3" fmla="*/ 10634 w 6736738"/>
              <a:gd name="connsiteY3" fmla="*/ 3971960 h 3989566"/>
              <a:gd name="connsiteX0" fmla="*/ 42532 w 6768636"/>
              <a:gd name="connsiteY0" fmla="*/ 3663615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42532 w 6768636"/>
              <a:gd name="connsiteY3" fmla="*/ 3663615 h 3681221"/>
              <a:gd name="connsiteX0" fmla="*/ 21267 w 6768636"/>
              <a:gd name="connsiteY0" fmla="*/ 3674248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21267 w 6768636"/>
              <a:gd name="connsiteY3" fmla="*/ 3674248 h 3681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68636" h="3681221">
                <a:moveTo>
                  <a:pt x="21267" y="3674248"/>
                </a:moveTo>
                <a:cubicBezTo>
                  <a:pt x="16504" y="2371194"/>
                  <a:pt x="4763" y="1303054"/>
                  <a:pt x="0" y="0"/>
                </a:cubicBezTo>
                <a:lnTo>
                  <a:pt x="6768636" y="3681221"/>
                </a:lnTo>
                <a:lnTo>
                  <a:pt x="21267" y="3674248"/>
                </a:lnTo>
                <a:close/>
              </a:path>
            </a:pathLst>
          </a:custGeom>
          <a:solidFill>
            <a:srgbClr val="B5217E"/>
          </a:solidFill>
          <a:ln>
            <a:noFill/>
          </a:ln>
          <a:effectLst>
            <a:outerShdw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creen Blue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apezoid 11"/>
          <p:cNvSpPr/>
          <p:nvPr userDrawn="1"/>
        </p:nvSpPr>
        <p:spPr>
          <a:xfrm>
            <a:off x="-31293" y="-1483"/>
            <a:ext cx="6121119" cy="6870116"/>
          </a:xfrm>
          <a:custGeom>
            <a:avLst/>
            <a:gdLst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254681 w 4339575"/>
              <a:gd name="connsiteY2" fmla="*/ 0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0 w 4339575"/>
              <a:gd name="connsiteY0" fmla="*/ 7024255 h 7024255"/>
              <a:gd name="connsiteX1" fmla="*/ 1084894 w 4339575"/>
              <a:gd name="connsiteY1" fmla="*/ 0 h 7024255"/>
              <a:gd name="connsiteX2" fmla="*/ 3305481 w 4339575"/>
              <a:gd name="connsiteY2" fmla="*/ 135466 h 7024255"/>
              <a:gd name="connsiteX3" fmla="*/ 4339575 w 4339575"/>
              <a:gd name="connsiteY3" fmla="*/ 7024255 h 7024255"/>
              <a:gd name="connsiteX4" fmla="*/ 0 w 4339575"/>
              <a:gd name="connsiteY4" fmla="*/ 7024255 h 7024255"/>
              <a:gd name="connsiteX0" fmla="*/ 1150306 w 5489881"/>
              <a:gd name="connsiteY0" fmla="*/ 6888789 h 6888789"/>
              <a:gd name="connsiteX1" fmla="*/ 0 w 5489881"/>
              <a:gd name="connsiteY1" fmla="*/ 135468 h 6888789"/>
              <a:gd name="connsiteX2" fmla="*/ 4455787 w 5489881"/>
              <a:gd name="connsiteY2" fmla="*/ 0 h 6888789"/>
              <a:gd name="connsiteX3" fmla="*/ 5489881 w 5489881"/>
              <a:gd name="connsiteY3" fmla="*/ 6888789 h 6888789"/>
              <a:gd name="connsiteX4" fmla="*/ 1150306 w 5489881"/>
              <a:gd name="connsiteY4" fmla="*/ 6888789 h 6888789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4472720 w 5489881"/>
              <a:gd name="connsiteY2" fmla="*/ 33865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389920 w 5489881"/>
              <a:gd name="connsiteY2" fmla="*/ 50799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728587 w 5489881"/>
              <a:gd name="connsiteY2" fmla="*/ 33866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5489881"/>
              <a:gd name="connsiteY0" fmla="*/ 6787188 h 6787188"/>
              <a:gd name="connsiteX1" fmla="*/ 0 w 5489881"/>
              <a:gd name="connsiteY1" fmla="*/ 33867 h 6787188"/>
              <a:gd name="connsiteX2" fmla="*/ 2711654 w 5489881"/>
              <a:gd name="connsiteY2" fmla="*/ 0 h 6787188"/>
              <a:gd name="connsiteX3" fmla="*/ 5489881 w 5489881"/>
              <a:gd name="connsiteY3" fmla="*/ 6787188 h 6787188"/>
              <a:gd name="connsiteX4" fmla="*/ 1150306 w 5489881"/>
              <a:gd name="connsiteY4" fmla="*/ 6787188 h 6787188"/>
              <a:gd name="connsiteX0" fmla="*/ 1150306 w 5489881"/>
              <a:gd name="connsiteY0" fmla="*/ 6753321 h 6753321"/>
              <a:gd name="connsiteX1" fmla="*/ 0 w 5489881"/>
              <a:gd name="connsiteY1" fmla="*/ 0 h 6753321"/>
              <a:gd name="connsiteX2" fmla="*/ 2677787 w 5489881"/>
              <a:gd name="connsiteY2" fmla="*/ 16933 h 6753321"/>
              <a:gd name="connsiteX3" fmla="*/ 5489881 w 5489881"/>
              <a:gd name="connsiteY3" fmla="*/ 6753321 h 6753321"/>
              <a:gd name="connsiteX4" fmla="*/ 1150306 w 5489881"/>
              <a:gd name="connsiteY4" fmla="*/ 6753321 h 6753321"/>
              <a:gd name="connsiteX0" fmla="*/ 1150306 w 6268815"/>
              <a:gd name="connsiteY0" fmla="*/ 6753321 h 6973454"/>
              <a:gd name="connsiteX1" fmla="*/ 0 w 6268815"/>
              <a:gd name="connsiteY1" fmla="*/ 0 h 6973454"/>
              <a:gd name="connsiteX2" fmla="*/ 2677787 w 6268815"/>
              <a:gd name="connsiteY2" fmla="*/ 16933 h 6973454"/>
              <a:gd name="connsiteX3" fmla="*/ 6268815 w 6268815"/>
              <a:gd name="connsiteY3" fmla="*/ 6973454 h 6973454"/>
              <a:gd name="connsiteX4" fmla="*/ 1150306 w 6268815"/>
              <a:gd name="connsiteY4" fmla="*/ 6753321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678947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269975"/>
              <a:gd name="connsiteY0" fmla="*/ 6939587 h 6973454"/>
              <a:gd name="connsiteX1" fmla="*/ 1160 w 6269975"/>
              <a:gd name="connsiteY1" fmla="*/ 0 h 6973454"/>
              <a:gd name="connsiteX2" fmla="*/ 2593886 w 6269975"/>
              <a:gd name="connsiteY2" fmla="*/ 16933 h 6973454"/>
              <a:gd name="connsiteX3" fmla="*/ 6269975 w 6269975"/>
              <a:gd name="connsiteY3" fmla="*/ 6973454 h 6973454"/>
              <a:gd name="connsiteX4" fmla="*/ 0 w 6269975"/>
              <a:gd name="connsiteY4" fmla="*/ 6939587 h 6973454"/>
              <a:gd name="connsiteX0" fmla="*/ 0 w 6121119"/>
              <a:gd name="connsiteY0" fmla="*/ 6939587 h 6984196"/>
              <a:gd name="connsiteX1" fmla="*/ 1160 w 6121119"/>
              <a:gd name="connsiteY1" fmla="*/ 0 h 6984196"/>
              <a:gd name="connsiteX2" fmla="*/ 2593886 w 6121119"/>
              <a:gd name="connsiteY2" fmla="*/ 16933 h 6984196"/>
              <a:gd name="connsiteX3" fmla="*/ 6121119 w 6121119"/>
              <a:gd name="connsiteY3" fmla="*/ 6984196 h 6984196"/>
              <a:gd name="connsiteX4" fmla="*/ 0 w 6121119"/>
              <a:gd name="connsiteY4" fmla="*/ 693958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592729 w 6119962"/>
              <a:gd name="connsiteY2" fmla="*/ 16933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41374 w 6119962"/>
              <a:gd name="connsiteY0" fmla="*/ 6982557 h 6984196"/>
              <a:gd name="connsiteX1" fmla="*/ 3 w 6119962"/>
              <a:gd name="connsiteY1" fmla="*/ 0 h 6984196"/>
              <a:gd name="connsiteX2" fmla="*/ 2624626 w 6119962"/>
              <a:gd name="connsiteY2" fmla="*/ 70647 h 6984196"/>
              <a:gd name="connsiteX3" fmla="*/ 6119962 w 6119962"/>
              <a:gd name="connsiteY3" fmla="*/ 6984196 h 6984196"/>
              <a:gd name="connsiteX4" fmla="*/ 41374 w 6119962"/>
              <a:gd name="connsiteY4" fmla="*/ 6982557 h 6984196"/>
              <a:gd name="connsiteX0" fmla="*/ 20112 w 6098700"/>
              <a:gd name="connsiteY0" fmla="*/ 6939587 h 6941226"/>
              <a:gd name="connsiteX1" fmla="*/ 6 w 6098700"/>
              <a:gd name="connsiteY1" fmla="*/ 0 h 6941226"/>
              <a:gd name="connsiteX2" fmla="*/ 2603364 w 6098700"/>
              <a:gd name="connsiteY2" fmla="*/ 27677 h 6941226"/>
              <a:gd name="connsiteX3" fmla="*/ 6098700 w 6098700"/>
              <a:gd name="connsiteY3" fmla="*/ 6941226 h 6941226"/>
              <a:gd name="connsiteX4" fmla="*/ 20112 w 6098700"/>
              <a:gd name="connsiteY4" fmla="*/ 6939587 h 6941226"/>
              <a:gd name="connsiteX0" fmla="*/ 0 w 6121119"/>
              <a:gd name="connsiteY0" fmla="*/ 6918102 h 6941226"/>
              <a:gd name="connsiteX1" fmla="*/ 22425 w 6121119"/>
              <a:gd name="connsiteY1" fmla="*/ 0 h 6941226"/>
              <a:gd name="connsiteX2" fmla="*/ 2625783 w 6121119"/>
              <a:gd name="connsiteY2" fmla="*/ 27677 h 6941226"/>
              <a:gd name="connsiteX3" fmla="*/ 6121119 w 6121119"/>
              <a:gd name="connsiteY3" fmla="*/ 6941226 h 6941226"/>
              <a:gd name="connsiteX4" fmla="*/ 0 w 6121119"/>
              <a:gd name="connsiteY4" fmla="*/ 6918102 h 6941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1119" h="6941226">
                <a:moveTo>
                  <a:pt x="0" y="6918102"/>
                </a:moveTo>
                <a:cubicBezTo>
                  <a:pt x="387" y="4604906"/>
                  <a:pt x="22038" y="2313196"/>
                  <a:pt x="22425" y="0"/>
                </a:cubicBezTo>
                <a:lnTo>
                  <a:pt x="2625783" y="27677"/>
                </a:lnTo>
                <a:lnTo>
                  <a:pt x="6121119" y="6941226"/>
                </a:lnTo>
                <a:lnTo>
                  <a:pt x="0" y="6918102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rgbClr val="B5217E"/>
                </a:solidFill>
                <a:latin typeface="Calibri" charset="0"/>
              </a:defRPr>
            </a:lvl1pPr>
          </a:lstStyle>
          <a:p>
            <a:r>
              <a:rPr lang="en-US" dirty="0"/>
              <a:t>Example Sale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rgbClr val="B5217E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  <p:sp>
        <p:nvSpPr>
          <p:cNvPr id="17" name="Subtitle 2"/>
          <p:cNvSpPr txBox="1">
            <a:spLocks/>
          </p:cNvSpPr>
          <p:nvPr userDrawn="1"/>
        </p:nvSpPr>
        <p:spPr>
          <a:xfrm>
            <a:off x="2916140" y="4351409"/>
            <a:ext cx="9144000" cy="2341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rgbClr val="B5217E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US" sz="160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t>Denise Duncan / Director, Enablement Services / </a:t>
            </a:r>
            <a:fld id="{3131BDA8-0BB6-4307-A0EC-932C57A2C0CA}" type="datetime3">
              <a:rPr lang="en-US" sz="1600" smtClean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rPr>
              <a:pPr defTabSz="914377">
                <a:spcBef>
                  <a:spcPts val="1000"/>
                </a:spcBef>
                <a:defRPr/>
              </a:pPr>
              <a:t>24 January 2018</a:t>
            </a:fld>
            <a:endParaRPr lang="en-US" sz="1600">
              <a:solidFill>
                <a:srgbClr val="00395A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4"/>
            <a:ext cx="2148811" cy="406841"/>
          </a:xfrm>
          <a:prstGeom prst="rect">
            <a:avLst/>
          </a:prstGeom>
        </p:spPr>
      </p:pic>
      <p:sp>
        <p:nvSpPr>
          <p:cNvPr id="20" name="Right Triangle 19"/>
          <p:cNvSpPr/>
          <p:nvPr userDrawn="1"/>
        </p:nvSpPr>
        <p:spPr>
          <a:xfrm rot="10800000" flipH="1">
            <a:off x="-31294" y="-14285"/>
            <a:ext cx="6738111" cy="3681221"/>
          </a:xfrm>
          <a:custGeom>
            <a:avLst/>
            <a:gdLst>
              <a:gd name="connsiteX0" fmla="*/ 0 w 5913047"/>
              <a:gd name="connsiteY0" fmla="*/ 3980599 h 3980599"/>
              <a:gd name="connsiteX1" fmla="*/ 0 w 5913047"/>
              <a:gd name="connsiteY1" fmla="*/ 0 h 3980599"/>
              <a:gd name="connsiteX2" fmla="*/ 5913047 w 5913047"/>
              <a:gd name="connsiteY2" fmla="*/ 3980599 h 3980599"/>
              <a:gd name="connsiteX3" fmla="*/ 0 w 5913047"/>
              <a:gd name="connsiteY3" fmla="*/ 3980599 h 3980599"/>
              <a:gd name="connsiteX0" fmla="*/ 0 w 6956034"/>
              <a:gd name="connsiteY0" fmla="*/ 3980599 h 3980599"/>
              <a:gd name="connsiteX1" fmla="*/ 0 w 6956034"/>
              <a:gd name="connsiteY1" fmla="*/ 0 h 3980599"/>
              <a:gd name="connsiteX2" fmla="*/ 6956034 w 6956034"/>
              <a:gd name="connsiteY2" fmla="*/ 3894874 h 3980599"/>
              <a:gd name="connsiteX3" fmla="*/ 0 w 6956034"/>
              <a:gd name="connsiteY3" fmla="*/ 3980599 h 3980599"/>
              <a:gd name="connsiteX0" fmla="*/ 14288 w 6956034"/>
              <a:gd name="connsiteY0" fmla="*/ 3909162 h 3909162"/>
              <a:gd name="connsiteX1" fmla="*/ 0 w 6956034"/>
              <a:gd name="connsiteY1" fmla="*/ 0 h 3909162"/>
              <a:gd name="connsiteX2" fmla="*/ 6956034 w 6956034"/>
              <a:gd name="connsiteY2" fmla="*/ 3894874 h 3909162"/>
              <a:gd name="connsiteX3" fmla="*/ 14288 w 6956034"/>
              <a:gd name="connsiteY3" fmla="*/ 3909162 h 3909162"/>
              <a:gd name="connsiteX0" fmla="*/ 634 w 6942380"/>
              <a:gd name="connsiteY0" fmla="*/ 3837724 h 3837724"/>
              <a:gd name="connsiteX1" fmla="*/ 14921 w 6942380"/>
              <a:gd name="connsiteY1" fmla="*/ 0 h 3837724"/>
              <a:gd name="connsiteX2" fmla="*/ 6942380 w 6942380"/>
              <a:gd name="connsiteY2" fmla="*/ 3823436 h 3837724"/>
              <a:gd name="connsiteX3" fmla="*/ 634 w 6942380"/>
              <a:gd name="connsiteY3" fmla="*/ 3837724 h 3837724"/>
              <a:gd name="connsiteX0" fmla="*/ 414 w 6942160"/>
              <a:gd name="connsiteY0" fmla="*/ 3709136 h 3709136"/>
              <a:gd name="connsiteX1" fmla="*/ 28989 w 6942160"/>
              <a:gd name="connsiteY1" fmla="*/ 0 h 3709136"/>
              <a:gd name="connsiteX2" fmla="*/ 6942160 w 6942160"/>
              <a:gd name="connsiteY2" fmla="*/ 3694848 h 3709136"/>
              <a:gd name="connsiteX3" fmla="*/ 414 w 6942160"/>
              <a:gd name="connsiteY3" fmla="*/ 3709136 h 3709136"/>
              <a:gd name="connsiteX0" fmla="*/ 414 w 6942160"/>
              <a:gd name="connsiteY0" fmla="*/ 3751998 h 3751998"/>
              <a:gd name="connsiteX1" fmla="*/ 28989 w 6942160"/>
              <a:gd name="connsiteY1" fmla="*/ 0 h 3751998"/>
              <a:gd name="connsiteX2" fmla="*/ 6942160 w 6942160"/>
              <a:gd name="connsiteY2" fmla="*/ 3737710 h 3751998"/>
              <a:gd name="connsiteX3" fmla="*/ 414 w 6942160"/>
              <a:gd name="connsiteY3" fmla="*/ 3751998 h 3751998"/>
              <a:gd name="connsiteX0" fmla="*/ 71438 w 7013184"/>
              <a:gd name="connsiteY0" fmla="*/ 3780573 h 3780573"/>
              <a:gd name="connsiteX1" fmla="*/ 0 w 7013184"/>
              <a:gd name="connsiteY1" fmla="*/ 0 h 3780573"/>
              <a:gd name="connsiteX2" fmla="*/ 7013184 w 7013184"/>
              <a:gd name="connsiteY2" fmla="*/ 3766285 h 3780573"/>
              <a:gd name="connsiteX3" fmla="*/ 71438 w 7013184"/>
              <a:gd name="connsiteY3" fmla="*/ 3780573 h 3780573"/>
              <a:gd name="connsiteX0" fmla="*/ 1374 w 7014558"/>
              <a:gd name="connsiteY0" fmla="*/ 3780573 h 3780573"/>
              <a:gd name="connsiteX1" fmla="*/ 1374 w 7014558"/>
              <a:gd name="connsiteY1" fmla="*/ 0 h 3780573"/>
              <a:gd name="connsiteX2" fmla="*/ 7014558 w 7014558"/>
              <a:gd name="connsiteY2" fmla="*/ 3766285 h 3780573"/>
              <a:gd name="connsiteX3" fmla="*/ 1374 w 7014558"/>
              <a:gd name="connsiteY3" fmla="*/ 3780573 h 3780573"/>
              <a:gd name="connsiteX0" fmla="*/ 1374 w 6334075"/>
              <a:gd name="connsiteY0" fmla="*/ 3780573 h 3798182"/>
              <a:gd name="connsiteX1" fmla="*/ 1374 w 6334075"/>
              <a:gd name="connsiteY1" fmla="*/ 0 h 3798182"/>
              <a:gd name="connsiteX2" fmla="*/ 6334075 w 6334075"/>
              <a:gd name="connsiteY2" fmla="*/ 3798182 h 3798182"/>
              <a:gd name="connsiteX3" fmla="*/ 1374 w 6334075"/>
              <a:gd name="connsiteY3" fmla="*/ 3780573 h 3798182"/>
              <a:gd name="connsiteX0" fmla="*/ 1374 w 5058168"/>
              <a:gd name="connsiteY0" fmla="*/ 3780573 h 3883242"/>
              <a:gd name="connsiteX1" fmla="*/ 1374 w 5058168"/>
              <a:gd name="connsiteY1" fmla="*/ 0 h 3883242"/>
              <a:gd name="connsiteX2" fmla="*/ 5058168 w 5058168"/>
              <a:gd name="connsiteY2" fmla="*/ 3883242 h 3883242"/>
              <a:gd name="connsiteX3" fmla="*/ 1374 w 5058168"/>
              <a:gd name="connsiteY3" fmla="*/ 3780573 h 3883242"/>
              <a:gd name="connsiteX0" fmla="*/ 1374 w 3750363"/>
              <a:gd name="connsiteY0" fmla="*/ 3780573 h 3989567"/>
              <a:gd name="connsiteX1" fmla="*/ 1374 w 3750363"/>
              <a:gd name="connsiteY1" fmla="*/ 0 h 3989567"/>
              <a:gd name="connsiteX2" fmla="*/ 3750363 w 3750363"/>
              <a:gd name="connsiteY2" fmla="*/ 3989567 h 3989567"/>
              <a:gd name="connsiteX3" fmla="*/ 1374 w 3750363"/>
              <a:gd name="connsiteY3" fmla="*/ 3780573 h 3989567"/>
              <a:gd name="connsiteX0" fmla="*/ 1374 w 5515368"/>
              <a:gd name="connsiteY0" fmla="*/ 3780573 h 3780573"/>
              <a:gd name="connsiteX1" fmla="*/ 1374 w 5515368"/>
              <a:gd name="connsiteY1" fmla="*/ 0 h 3780573"/>
              <a:gd name="connsiteX2" fmla="*/ 5515368 w 5515368"/>
              <a:gd name="connsiteY2" fmla="*/ 3745018 h 3780573"/>
              <a:gd name="connsiteX3" fmla="*/ 1374 w 5515368"/>
              <a:gd name="connsiteY3" fmla="*/ 3780573 h 3780573"/>
              <a:gd name="connsiteX0" fmla="*/ 1374 w 7429229"/>
              <a:gd name="connsiteY0" fmla="*/ 3780573 h 3780573"/>
              <a:gd name="connsiteX1" fmla="*/ 1374 w 7429229"/>
              <a:gd name="connsiteY1" fmla="*/ 0 h 3780573"/>
              <a:gd name="connsiteX2" fmla="*/ 7429229 w 7429229"/>
              <a:gd name="connsiteY2" fmla="*/ 3766283 h 3780573"/>
              <a:gd name="connsiteX3" fmla="*/ 1374 w 7429229"/>
              <a:gd name="connsiteY3" fmla="*/ 3780573 h 3780573"/>
              <a:gd name="connsiteX0" fmla="*/ 735 w 7428590"/>
              <a:gd name="connsiteY0" fmla="*/ 4003857 h 4003857"/>
              <a:gd name="connsiteX1" fmla="*/ 11367 w 7428590"/>
              <a:gd name="connsiteY1" fmla="*/ 0 h 4003857"/>
              <a:gd name="connsiteX2" fmla="*/ 7428590 w 7428590"/>
              <a:gd name="connsiteY2" fmla="*/ 3989567 h 4003857"/>
              <a:gd name="connsiteX3" fmla="*/ 735 w 7428590"/>
              <a:gd name="connsiteY3" fmla="*/ 4003857 h 4003857"/>
              <a:gd name="connsiteX0" fmla="*/ 1376 w 7418598"/>
              <a:gd name="connsiteY0" fmla="*/ 3855001 h 3989567"/>
              <a:gd name="connsiteX1" fmla="*/ 1375 w 7418598"/>
              <a:gd name="connsiteY1" fmla="*/ 0 h 3989567"/>
              <a:gd name="connsiteX2" fmla="*/ 7418598 w 7418598"/>
              <a:gd name="connsiteY2" fmla="*/ 3989567 h 3989567"/>
              <a:gd name="connsiteX3" fmla="*/ 1376 w 7418598"/>
              <a:gd name="connsiteY3" fmla="*/ 3855001 h 3989567"/>
              <a:gd name="connsiteX0" fmla="*/ 10634 w 7417223"/>
              <a:gd name="connsiteY0" fmla="*/ 3971960 h 3989567"/>
              <a:gd name="connsiteX1" fmla="*/ 0 w 7417223"/>
              <a:gd name="connsiteY1" fmla="*/ 0 h 3989567"/>
              <a:gd name="connsiteX2" fmla="*/ 7417223 w 7417223"/>
              <a:gd name="connsiteY2" fmla="*/ 3989567 h 3989567"/>
              <a:gd name="connsiteX3" fmla="*/ 10634 w 7417223"/>
              <a:gd name="connsiteY3" fmla="*/ 3971960 h 3989567"/>
              <a:gd name="connsiteX0" fmla="*/ 10634 w 6417762"/>
              <a:gd name="connsiteY0" fmla="*/ 3971960 h 3971960"/>
              <a:gd name="connsiteX1" fmla="*/ 0 w 6417762"/>
              <a:gd name="connsiteY1" fmla="*/ 0 h 3971960"/>
              <a:gd name="connsiteX2" fmla="*/ 6417762 w 6417762"/>
              <a:gd name="connsiteY2" fmla="*/ 3649325 h 3971960"/>
              <a:gd name="connsiteX3" fmla="*/ 10634 w 6417762"/>
              <a:gd name="connsiteY3" fmla="*/ 3971960 h 3971960"/>
              <a:gd name="connsiteX0" fmla="*/ 10634 w 5822339"/>
              <a:gd name="connsiteY0" fmla="*/ 3971960 h 3971960"/>
              <a:gd name="connsiteX1" fmla="*/ 0 w 5822339"/>
              <a:gd name="connsiteY1" fmla="*/ 0 h 3971960"/>
              <a:gd name="connsiteX2" fmla="*/ 5822339 w 5822339"/>
              <a:gd name="connsiteY2" fmla="*/ 2713660 h 3971960"/>
              <a:gd name="connsiteX3" fmla="*/ 10634 w 5822339"/>
              <a:gd name="connsiteY3" fmla="*/ 3971960 h 3971960"/>
              <a:gd name="connsiteX0" fmla="*/ 10634 w 6991920"/>
              <a:gd name="connsiteY0" fmla="*/ 3971960 h 3978934"/>
              <a:gd name="connsiteX1" fmla="*/ 0 w 6991920"/>
              <a:gd name="connsiteY1" fmla="*/ 0 h 3978934"/>
              <a:gd name="connsiteX2" fmla="*/ 6991920 w 6991920"/>
              <a:gd name="connsiteY2" fmla="*/ 3978934 h 3978934"/>
              <a:gd name="connsiteX3" fmla="*/ 10634 w 6991920"/>
              <a:gd name="connsiteY3" fmla="*/ 3971960 h 3978934"/>
              <a:gd name="connsiteX0" fmla="*/ 10634 w 6736738"/>
              <a:gd name="connsiteY0" fmla="*/ 3971960 h 3989566"/>
              <a:gd name="connsiteX1" fmla="*/ 0 w 6736738"/>
              <a:gd name="connsiteY1" fmla="*/ 0 h 3989566"/>
              <a:gd name="connsiteX2" fmla="*/ 6736738 w 6736738"/>
              <a:gd name="connsiteY2" fmla="*/ 3989566 h 3989566"/>
              <a:gd name="connsiteX3" fmla="*/ 10634 w 6736738"/>
              <a:gd name="connsiteY3" fmla="*/ 3971960 h 3989566"/>
              <a:gd name="connsiteX0" fmla="*/ 42532 w 6768636"/>
              <a:gd name="connsiteY0" fmla="*/ 3663615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42532 w 6768636"/>
              <a:gd name="connsiteY3" fmla="*/ 3663615 h 3681221"/>
              <a:gd name="connsiteX0" fmla="*/ 21267 w 6768636"/>
              <a:gd name="connsiteY0" fmla="*/ 3674248 h 3681221"/>
              <a:gd name="connsiteX1" fmla="*/ 0 w 6768636"/>
              <a:gd name="connsiteY1" fmla="*/ 0 h 3681221"/>
              <a:gd name="connsiteX2" fmla="*/ 6768636 w 6768636"/>
              <a:gd name="connsiteY2" fmla="*/ 3681221 h 3681221"/>
              <a:gd name="connsiteX3" fmla="*/ 21267 w 6768636"/>
              <a:gd name="connsiteY3" fmla="*/ 3674248 h 3681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68636" h="3681221">
                <a:moveTo>
                  <a:pt x="21267" y="3674248"/>
                </a:moveTo>
                <a:cubicBezTo>
                  <a:pt x="16504" y="2371194"/>
                  <a:pt x="4763" y="1303054"/>
                  <a:pt x="0" y="0"/>
                </a:cubicBezTo>
                <a:lnTo>
                  <a:pt x="6768636" y="3681221"/>
                </a:lnTo>
                <a:lnTo>
                  <a:pt x="21267" y="3674248"/>
                </a:lnTo>
                <a:close/>
              </a:path>
            </a:pathLst>
          </a:custGeom>
          <a:solidFill>
            <a:srgbClr val="00395A"/>
          </a:solidFill>
          <a:ln>
            <a:noFill/>
          </a:ln>
          <a:effectLst>
            <a:outerShdw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creen 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B521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Divider Screen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creen 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003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Divider Screen Templ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Example subheading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utlin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solidFill>
                  <a:srgbClr val="B5217E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ontent Head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lnSpc>
                <a:spcPct val="150000"/>
              </a:lnSpc>
              <a:defRPr sz="24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spum</a:t>
            </a:r>
            <a:r>
              <a:rPr lang="en-US" dirty="0"/>
              <a:t> dolor</a:t>
            </a:r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</a:t>
            </a:r>
            <a:endParaRPr lang="en-US" dirty="0"/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Out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solidFill>
                  <a:srgbClr val="B5217E"/>
                </a:solidFill>
                <a:latin typeface="+mn-lt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ontent head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800" b="0" i="0">
                <a:solidFill>
                  <a:srgbClr val="00395A"/>
                </a:solidFill>
                <a:latin typeface="+mn-lt"/>
                <a:ea typeface="Calibri Light" charset="0"/>
                <a:cs typeface="Calibri Light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latin typeface="+mn-lt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>
                <a:latin typeface="+mn-lt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>
                <a:latin typeface="+mn-lt"/>
              </a:defRPr>
            </a:lvl4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800" b="0" i="0">
                <a:solidFill>
                  <a:srgbClr val="00395A"/>
                </a:solidFill>
                <a:latin typeface="+mn-lt"/>
                <a:ea typeface="Calibri Light" charset="0"/>
                <a:cs typeface="Calibri Light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latin typeface="+mn-lt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>
                <a:latin typeface="+mn-lt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>
                <a:latin typeface="+mn-lt"/>
              </a:defRPr>
            </a:lvl4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9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Out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solidFill>
                  <a:srgbClr val="B5217E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ontent Head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9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4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spum</a:t>
            </a:r>
            <a:r>
              <a:rPr lang="en-US" dirty="0"/>
              <a:t> dolor</a:t>
            </a:r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</a:t>
            </a:r>
            <a:endParaRPr lang="en-US" dirty="0"/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9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4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 lvl="0"/>
            <a:r>
              <a:rPr lang="en-US" dirty="0"/>
              <a:t>Lorem </a:t>
            </a:r>
            <a:r>
              <a:rPr lang="en-US" dirty="0" err="1"/>
              <a:t>ispum</a:t>
            </a:r>
            <a:r>
              <a:rPr lang="en-US" dirty="0"/>
              <a:t> dolor</a:t>
            </a:r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0"/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</a:t>
            </a:r>
            <a:endParaRPr lang="en-US" dirty="0"/>
          </a:p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creens Dark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003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7" y="5895602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7" y="457198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947" y="703880"/>
            <a:ext cx="7986713" cy="4900329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Screens Dark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003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7" y="5895602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7" y="457198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creens Light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7" y="5895602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7" y="457198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947" y="703880"/>
            <a:ext cx="7986713" cy="4900329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>
            <a:off x="600075" y="5738436"/>
            <a:ext cx="10972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Screens Light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7" y="5895602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rgbClr val="00395A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7" y="457198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0075" y="5738436"/>
            <a:ext cx="10972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you Screen w/ PS Graphic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7036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 err="1"/>
              <a:t>www.crownpeak.co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4"/>
            <a:ext cx="2148811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you Screen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/>
          <p:nvPr userDrawn="1"/>
        </p:nvSpPr>
        <p:spPr>
          <a:xfrm>
            <a:off x="605" y="-14288"/>
            <a:ext cx="12191395" cy="6886576"/>
          </a:xfrm>
          <a:custGeom>
            <a:avLst/>
            <a:gdLst>
              <a:gd name="connsiteX0" fmla="*/ 0 w 12191395"/>
              <a:gd name="connsiteY0" fmla="*/ 0 h 6886576"/>
              <a:gd name="connsiteX1" fmla="*/ 12191395 w 12191395"/>
              <a:gd name="connsiteY1" fmla="*/ 0 h 6886576"/>
              <a:gd name="connsiteX2" fmla="*/ 12191395 w 12191395"/>
              <a:gd name="connsiteY2" fmla="*/ 6886576 h 6886576"/>
              <a:gd name="connsiteX3" fmla="*/ 0 w 12191395"/>
              <a:gd name="connsiteY3" fmla="*/ 6886576 h 6886576"/>
              <a:gd name="connsiteX4" fmla="*/ 0 w 12191395"/>
              <a:gd name="connsiteY4" fmla="*/ 0 h 6886576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12191395 w 12191395"/>
              <a:gd name="connsiteY2" fmla="*/ 6900863 h 6900863"/>
              <a:gd name="connsiteX3" fmla="*/ 0 w 12191395"/>
              <a:gd name="connsiteY3" fmla="*/ 6900863 h 6900863"/>
              <a:gd name="connsiteX4" fmla="*/ 0 w 12191395"/>
              <a:gd name="connsiteY4" fmla="*/ 14287 h 6900863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9900633 w 12191395"/>
              <a:gd name="connsiteY2" fmla="*/ 2871788 h 6900863"/>
              <a:gd name="connsiteX3" fmla="*/ 12191395 w 12191395"/>
              <a:gd name="connsiteY3" fmla="*/ 6900863 h 6900863"/>
              <a:gd name="connsiteX4" fmla="*/ 0 w 12191395"/>
              <a:gd name="connsiteY4" fmla="*/ 6900863 h 6900863"/>
              <a:gd name="connsiteX5" fmla="*/ 0 w 12191395"/>
              <a:gd name="connsiteY5" fmla="*/ 14287 h 6900863"/>
              <a:gd name="connsiteX0" fmla="*/ 0 w 12191395"/>
              <a:gd name="connsiteY0" fmla="*/ 14287 h 6900863"/>
              <a:gd name="connsiteX1" fmla="*/ 8276620 w 12191395"/>
              <a:gd name="connsiteY1" fmla="*/ 0 h 6900863"/>
              <a:gd name="connsiteX2" fmla="*/ 12186633 w 12191395"/>
              <a:gd name="connsiteY2" fmla="*/ 2828926 h 6900863"/>
              <a:gd name="connsiteX3" fmla="*/ 12191395 w 12191395"/>
              <a:gd name="connsiteY3" fmla="*/ 6900863 h 6900863"/>
              <a:gd name="connsiteX4" fmla="*/ 0 w 12191395"/>
              <a:gd name="connsiteY4" fmla="*/ 6900863 h 6900863"/>
              <a:gd name="connsiteX5" fmla="*/ 0 w 12191395"/>
              <a:gd name="connsiteY5" fmla="*/ 14287 h 6900863"/>
              <a:gd name="connsiteX0" fmla="*/ 0 w 12191395"/>
              <a:gd name="connsiteY0" fmla="*/ 0 h 6886576"/>
              <a:gd name="connsiteX1" fmla="*/ 7505095 w 12191395"/>
              <a:gd name="connsiteY1" fmla="*/ 14288 h 6886576"/>
              <a:gd name="connsiteX2" fmla="*/ 12186633 w 12191395"/>
              <a:gd name="connsiteY2" fmla="*/ 2814639 h 6886576"/>
              <a:gd name="connsiteX3" fmla="*/ 12191395 w 12191395"/>
              <a:gd name="connsiteY3" fmla="*/ 6886576 h 6886576"/>
              <a:gd name="connsiteX4" fmla="*/ 0 w 12191395"/>
              <a:gd name="connsiteY4" fmla="*/ 6886576 h 6886576"/>
              <a:gd name="connsiteX5" fmla="*/ 0 w 12191395"/>
              <a:gd name="connsiteY5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1395" h="6886576">
                <a:moveTo>
                  <a:pt x="0" y="0"/>
                </a:moveTo>
                <a:lnTo>
                  <a:pt x="7505095" y="14288"/>
                </a:lnTo>
                <a:lnTo>
                  <a:pt x="12186633" y="2814639"/>
                </a:lnTo>
                <a:cubicBezTo>
                  <a:pt x="12188220" y="4171951"/>
                  <a:pt x="12189808" y="5529264"/>
                  <a:pt x="12191395" y="6886576"/>
                </a:cubicBezTo>
                <a:lnTo>
                  <a:pt x="0" y="688657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38000"/>
                      </a14:imgEffect>
                    </a14:imgLayer>
                  </a14:imgProps>
                </a:ext>
              </a:extLst>
            </a:blip>
            <a:srcRect/>
            <a:tile tx="0" ty="0" sx="70000" sy="7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0044" y="2532137"/>
            <a:ext cx="9144000" cy="1120331"/>
          </a:xfrm>
        </p:spPr>
        <p:txBody>
          <a:bodyPr anchor="b">
            <a:normAutofit/>
          </a:bodyPr>
          <a:lstStyle>
            <a:lvl1pPr algn="r">
              <a:defRPr sz="4400" b="0" i="0" baseline="0">
                <a:ln>
                  <a:noFill/>
                </a:ln>
                <a:solidFill>
                  <a:schemeClr val="bg1"/>
                </a:solidFill>
                <a:latin typeface="Calibri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10044" y="3652469"/>
            <a:ext cx="9144000" cy="456236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 err="1"/>
              <a:t>www.crownpeak.co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68" y="858604"/>
            <a:ext cx="2148811" cy="406841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/>
            <a:endParaRPr lang="en-US" sz="1800" ker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/>
            <a:endParaRPr lang="en-US" sz="1800" ker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/>
            <a:fld id="{B6195397-5482-F245-8ABB-32E8412BBEEF}" type="slidenum">
              <a:rPr lang="en-US" sz="1800" kern="0" smtClean="0">
                <a:solidFill>
                  <a:srgbClr val="000000">
                    <a:tint val="75000"/>
                  </a:srgbClr>
                </a:solidFill>
              </a:rPr>
              <a:pPr defTabSz="914377"/>
              <a:t>‹#›</a:t>
            </a:fld>
            <a:endParaRPr lang="en-US" sz="1800" ker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2569" y="415624"/>
            <a:ext cx="9358603" cy="304699"/>
          </a:xfrm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chemeClr val="accent1"/>
                </a:solidFill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52569" y="134398"/>
            <a:ext cx="9358603" cy="293927"/>
          </a:xfrm>
        </p:spPr>
        <p:txBody>
          <a:bodyPr/>
          <a:lstStyle>
            <a:lvl1pPr>
              <a:defRPr b="1">
                <a:solidFill>
                  <a:srgbClr val="68707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276817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/>
          <p:nvPr/>
        </p:nvSpPr>
        <p:spPr>
          <a:xfrm>
            <a:off x="-6350" y="22226"/>
            <a:ext cx="12204700" cy="8274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4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sz="16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8" name="Shape 48"/>
          <p:cNvSpPr>
            <a:spLocks noGrp="1"/>
          </p:cNvSpPr>
          <p:nvPr>
            <p:ph type="sldNum" sz="quarter" idx="2"/>
          </p:nvPr>
        </p:nvSpPr>
        <p:spPr>
          <a:xfrm>
            <a:off x="11638746" y="6364631"/>
            <a:ext cx="198772" cy="177100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algn="ctr">
              <a:defRPr sz="1151" b="0">
                <a:solidFill>
                  <a:srgbClr val="000000"/>
                </a:solidFill>
                <a:latin typeface="Seravek Light"/>
                <a:ea typeface="Seravek Light"/>
                <a:cs typeface="Seravek Light"/>
                <a:sym typeface="Seravek Light"/>
              </a:defRPr>
            </a:lvl1pPr>
          </a:lstStyle>
          <a:p>
            <a:pPr defTabSz="412740"/>
            <a:fld id="{86CB4B4D-7CA3-9044-876B-883B54F8677D}" type="slidenum">
              <a:rPr lang="en-US" kern="0" smtClean="0"/>
              <a:pPr defTabSz="412740"/>
              <a:t>‹#›</a:t>
            </a:fld>
            <a:endParaRPr lang="en-US" kern="0"/>
          </a:p>
        </p:txBody>
      </p:sp>
      <p:sp>
        <p:nvSpPr>
          <p:cNvPr id="49" name="Shape 49"/>
          <p:cNvSpPr>
            <a:spLocks noGrp="1"/>
          </p:cNvSpPr>
          <p:nvPr>
            <p:ph type="title"/>
          </p:nvPr>
        </p:nvSpPr>
        <p:spPr>
          <a:xfrm>
            <a:off x="453871" y="251806"/>
            <a:ext cx="2092552" cy="36830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900" b="1" cap="all">
                <a:solidFill>
                  <a:srgbClr val="3B3D40"/>
                </a:solidFill>
                <a:latin typeface="Neris Black"/>
                <a:ea typeface="Neris Black"/>
                <a:cs typeface="Neris Black"/>
                <a:sym typeface="Neris Black"/>
              </a:defRPr>
            </a:lvl1pPr>
          </a:lstStyle>
          <a:p>
            <a:pPr lvl="0">
              <a:defRPr sz="1800" b="0" cap="none">
                <a:solidFill>
                  <a:srgbClr val="000000"/>
                </a:solidFill>
              </a:defRPr>
            </a:pPr>
            <a:r>
              <a:rPr sz="1851" b="1" cap="all">
                <a:solidFill>
                  <a:srgbClr val="3B3D40"/>
                </a:solidFill>
              </a:rPr>
              <a:t>Title Text</a:t>
            </a:r>
          </a:p>
        </p:txBody>
      </p:sp>
      <p:sp>
        <p:nvSpPr>
          <p:cNvPr id="9" name="Shape 39"/>
          <p:cNvSpPr/>
          <p:nvPr userDrawn="1"/>
        </p:nvSpPr>
        <p:spPr>
          <a:xfrm>
            <a:off x="-6349" y="-3174"/>
            <a:ext cx="12204701" cy="59436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75000"/>
                </a:schemeClr>
              </a:gs>
            </a:gsLst>
          </a:gra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4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sz="1600" kern="0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0" name="Picture 9" descr="Logo-Full-NoTag-Light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69577" y="251805"/>
            <a:ext cx="1771561" cy="315416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creens Dark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5" y="0"/>
            <a:ext cx="12191395" cy="6886576"/>
          </a:xfrm>
          <a:prstGeom prst="rect">
            <a:avLst/>
          </a:prstGeom>
          <a:solidFill>
            <a:srgbClr val="003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346" y="5895601"/>
            <a:ext cx="10729912" cy="456236"/>
          </a:xfrm>
        </p:spPr>
        <p:txBody>
          <a:bodyPr>
            <a:norm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31346" y="457196"/>
            <a:ext cx="10729912" cy="5300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946" y="703878"/>
            <a:ext cx="7986713" cy="490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414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13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37.xml"/><Relationship Id="rId15" Type="http://schemas.openxmlformats.org/officeDocument/2006/relationships/theme" Target="../theme/theme3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8.xml"/><Relationship Id="rId6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0.xml"/><Relationship Id="rId8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5.xml"/><Relationship Id="rId19" Type="http://schemas.openxmlformats.org/officeDocument/2006/relationships/theme" Target="../theme/theme4.xml"/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Relationship Id="rId3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4.xml"/><Relationship Id="rId8" Type="http://schemas.openxmlformats.org/officeDocument/2006/relationships/slideLayout" Target="../slideLayouts/slideLayout45.xml"/><Relationship Id="rId9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3.xml"/><Relationship Id="rId19" Type="http://schemas.openxmlformats.org/officeDocument/2006/relationships/theme" Target="../theme/theme5.xml"/><Relationship Id="rId1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2.xml"/><Relationship Id="rId8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5.x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88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8.xml"/><Relationship Id="rId6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0.xml"/><Relationship Id="rId8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68DA93-349A-FE4F-9D40-97DBBA2B1A4C}" type="datetimeFigureOut">
              <a:rPr lang="en-US" smtClean="0"/>
              <a:t>1/24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534DDC-89ED-2A40-BF57-81CE12B188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70" r:id="rId3"/>
    <p:sldLayoutId id="2147483661" r:id="rId4"/>
    <p:sldLayoutId id="2147483662" r:id="rId5"/>
    <p:sldLayoutId id="2147483650" r:id="rId6"/>
    <p:sldLayoutId id="2147483671" r:id="rId7"/>
    <p:sldLayoutId id="2147483652" r:id="rId8"/>
    <p:sldLayoutId id="2147483663" r:id="rId9"/>
    <p:sldLayoutId id="2147483664" r:id="rId10"/>
    <p:sldLayoutId id="2147483665" r:id="rId11"/>
    <p:sldLayoutId id="2147483669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2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600"/>
        </a:spcAft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1415E7-76CE-6D4A-8492-ABFF9DCD3F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77676F-40EF-E142-8E6D-70AA2D65BA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545" y="0"/>
            <a:ext cx="1218838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02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68DA93-349A-FE4F-9D40-97DBBA2B1A4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534DDC-89ED-2A40-BF57-81CE12B188D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689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89"/>
            <a:fld id="{FE68DA93-349A-FE4F-9D40-97DBBA2B1A4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89"/>
              <a:t>1/24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89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89"/>
            <a:fld id="{63534DDC-89ED-2A40-BF57-81CE12B188D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89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074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  <p:sldLayoutId id="2147483723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8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7" indent="-228597" algn="l" defTabSz="914389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1" indent="-228597" algn="l" defTabSz="91438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6" indent="-228597" algn="l" defTabSz="91438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0" indent="-228597" algn="l" defTabSz="91438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74" indent="-228597" algn="l" defTabSz="91438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69" indent="-228597" algn="l" defTabSz="91438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63" indent="-228597" algn="l" defTabSz="91438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57" indent="-228597" algn="l" defTabSz="91438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51" indent="-228597" algn="l" defTabSz="91438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4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9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3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6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0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4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FE68DA93-349A-FE4F-9D40-97DBBA2B1A4C}" type="datetimeFigureOut">
              <a:rPr lang="en-US" kern="0" smtClean="0">
                <a:solidFill>
                  <a:prstClr val="black">
                    <a:tint val="75000"/>
                  </a:prstClr>
                </a:solidFill>
              </a:rPr>
              <a:pPr defTabSz="914377"/>
              <a:t>1/24/18</a:t>
            </a:fld>
            <a:endParaRPr lang="en-US" ker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ker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63534DDC-89ED-2A40-BF57-81CE12B188D6}" type="slidenum">
              <a:rPr lang="en-US" kern="0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kern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507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56" r:id="rId16"/>
    <p:sldLayoutId id="2147483757" r:id="rId17"/>
    <p:sldLayoutId id="2147483758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FE68DA93-349A-FE4F-9D40-97DBBA2B1A4C}" type="datetimeFigureOut">
              <a:rPr lang="en-US" kern="0" smtClean="0">
                <a:solidFill>
                  <a:prstClr val="black">
                    <a:tint val="75000"/>
                  </a:prstClr>
                </a:solidFill>
              </a:rPr>
              <a:pPr defTabSz="914377"/>
              <a:t>1/24/18</a:t>
            </a:fld>
            <a:endParaRPr lang="en-US" ker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 ker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63534DDC-89ED-2A40-BF57-81CE12B188D6}" type="slidenum">
              <a:rPr lang="en-US" kern="0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 kern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224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4" Type="http://schemas.openxmlformats.org/officeDocument/2006/relationships/diagramLayout" Target="../diagrams/layout3.xml"/><Relationship Id="rId5" Type="http://schemas.openxmlformats.org/officeDocument/2006/relationships/diagramQuickStyle" Target="../diagrams/quickStyle3.xml"/><Relationship Id="rId6" Type="http://schemas.openxmlformats.org/officeDocument/2006/relationships/diagramColors" Target="../diagrams/colors3.xml"/><Relationship Id="rId7" Type="http://schemas.microsoft.com/office/2007/relationships/diagramDrawing" Target="../diagrams/drawing3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4" Type="http://schemas.openxmlformats.org/officeDocument/2006/relationships/diagramLayout" Target="../diagrams/layout4.xml"/><Relationship Id="rId5" Type="http://schemas.openxmlformats.org/officeDocument/2006/relationships/diagramQuickStyle" Target="../diagrams/quickStyle4.xml"/><Relationship Id="rId6" Type="http://schemas.openxmlformats.org/officeDocument/2006/relationships/diagramColors" Target="../diagrams/colors4.xml"/><Relationship Id="rId7" Type="http://schemas.microsoft.com/office/2007/relationships/diagramDrawing" Target="../diagrams/drawing4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4" Type="http://schemas.openxmlformats.org/officeDocument/2006/relationships/diagramLayout" Target="../diagrams/layout5.xml"/><Relationship Id="rId5" Type="http://schemas.openxmlformats.org/officeDocument/2006/relationships/diagramQuickStyle" Target="../diagrams/quickStyle5.xml"/><Relationship Id="rId6" Type="http://schemas.openxmlformats.org/officeDocument/2006/relationships/diagramColors" Target="../diagrams/colors5.xml"/><Relationship Id="rId7" Type="http://schemas.microsoft.com/office/2007/relationships/diagramDrawing" Target="../diagrams/drawing5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4" Type="http://schemas.openxmlformats.org/officeDocument/2006/relationships/diagramLayout" Target="../diagrams/layout6.xml"/><Relationship Id="rId5" Type="http://schemas.openxmlformats.org/officeDocument/2006/relationships/diagramQuickStyle" Target="../diagrams/quickStyle6.xml"/><Relationship Id="rId6" Type="http://schemas.openxmlformats.org/officeDocument/2006/relationships/diagramColors" Target="../diagrams/colors6.xml"/><Relationship Id="rId7" Type="http://schemas.microsoft.com/office/2007/relationships/diagramDrawing" Target="../diagrams/drawing6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4" Type="http://schemas.openxmlformats.org/officeDocument/2006/relationships/diagramLayout" Target="../diagrams/layout7.xml"/><Relationship Id="rId5" Type="http://schemas.openxmlformats.org/officeDocument/2006/relationships/diagramQuickStyle" Target="../diagrams/quickStyle7.xml"/><Relationship Id="rId6" Type="http://schemas.openxmlformats.org/officeDocument/2006/relationships/diagramColors" Target="../diagrams/colors7.xml"/><Relationship Id="rId7" Type="http://schemas.microsoft.com/office/2007/relationships/diagramDrawing" Target="../diagrams/drawing7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4" Type="http://schemas.openxmlformats.org/officeDocument/2006/relationships/diagramLayout" Target="../diagrams/layout8.xml"/><Relationship Id="rId5" Type="http://schemas.openxmlformats.org/officeDocument/2006/relationships/diagramQuickStyle" Target="../diagrams/quickStyle8.xml"/><Relationship Id="rId6" Type="http://schemas.openxmlformats.org/officeDocument/2006/relationships/diagramColors" Target="../diagrams/colors8.xml"/><Relationship Id="rId7" Type="http://schemas.microsoft.com/office/2007/relationships/diagramDrawing" Target="../diagrams/drawing8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comments" Target="../comments/comment1.xml"/><Relationship Id="rId1" Type="http://schemas.openxmlformats.org/officeDocument/2006/relationships/slideLayout" Target="../slideLayouts/slideLayout61.xml"/><Relationship Id="rId2" Type="http://schemas.openxmlformats.org/officeDocument/2006/relationships/notesSlide" Target="../notesSlides/notesSlide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4" Type="http://schemas.openxmlformats.org/officeDocument/2006/relationships/image" Target="../media/image20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4" Type="http://schemas.openxmlformats.org/officeDocument/2006/relationships/image" Target="../media/image21.png"/><Relationship Id="rId5" Type="http://schemas.openxmlformats.org/officeDocument/2006/relationships/image" Target="../media/image22.png"/><Relationship Id="rId1" Type="http://schemas.openxmlformats.org/officeDocument/2006/relationships/tags" Target="../tags/tag2.xml"/><Relationship Id="rId2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4" Type="http://schemas.openxmlformats.org/officeDocument/2006/relationships/image" Target="../media/image23.png"/><Relationship Id="rId5" Type="http://schemas.openxmlformats.org/officeDocument/2006/relationships/image" Target="../media/image24.png"/><Relationship Id="rId1" Type="http://schemas.openxmlformats.org/officeDocument/2006/relationships/tags" Target="../tags/tag3.xml"/><Relationship Id="rId2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2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1" Type="http://schemas.openxmlformats.org/officeDocument/2006/relationships/slideLayout" Target="../slideLayouts/slideLayout61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4" Type="http://schemas.openxmlformats.org/officeDocument/2006/relationships/image" Target="../media/image15.png"/><Relationship Id="rId1" Type="http://schemas.openxmlformats.org/officeDocument/2006/relationships/slideLayout" Target="../slideLayouts/slideLayout61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4" Type="http://schemas.openxmlformats.org/officeDocument/2006/relationships/image" Target="../media/image16.png"/><Relationship Id="rId1" Type="http://schemas.openxmlformats.org/officeDocument/2006/relationships/slideLayout" Target="../slideLayouts/slideLayout61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latin typeface="+mn-lt"/>
              </a:rPr>
              <a:t>Developer Training</a:t>
            </a:r>
            <a:endParaRPr lang="en-US" dirty="0">
              <a:latin typeface="+mn-lt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Content Lifecycle</a:t>
            </a:r>
          </a:p>
        </p:txBody>
      </p:sp>
    </p:spTree>
    <p:extLst>
      <p:ext uri="{BB962C8B-B14F-4D97-AF65-F5344CB8AC3E}">
        <p14:creationId xmlns:p14="http://schemas.microsoft.com/office/powerpoint/2010/main" val="34588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mtClean="0">
                <a:solidFill>
                  <a:schemeClr val="bg1"/>
                </a:solidFill>
              </a:rPr>
              <a:t>Crownpeak Terminology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rownpeak Terminology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BF86ACB6-83AD-C64A-9DF7-000AC6D9CE9E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5" name="SmartAr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0735407"/>
              </p:ext>
            </p:extLst>
          </p:nvPr>
        </p:nvGraphicFramePr>
        <p:xfrm>
          <a:off x="925689" y="2063927"/>
          <a:ext cx="10634133" cy="436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98683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mtClean="0">
                <a:solidFill>
                  <a:schemeClr val="bg1"/>
                </a:solidFill>
              </a:rPr>
              <a:t>Crownpeak Terminology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rownpeak Terminology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BF86ACB6-83AD-C64A-9DF7-000AC6D9CE9E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5" name="SmartAr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7988074"/>
              </p:ext>
            </p:extLst>
          </p:nvPr>
        </p:nvGraphicFramePr>
        <p:xfrm>
          <a:off x="812800" y="1636584"/>
          <a:ext cx="10854267" cy="436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7280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mtClean="0">
                <a:solidFill>
                  <a:schemeClr val="bg1"/>
                </a:solidFill>
              </a:rPr>
              <a:t>Publishing Terminology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Publishing Terminology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BF86ACB6-83AD-C64A-9DF7-000AC6D9CE9E}" type="slidenum">
              <a:rPr lang="en-US" smtClean="0"/>
              <a:pPr/>
              <a:t>12</a:t>
            </a:fld>
            <a:endParaRPr lang="en-US"/>
          </a:p>
        </p:txBody>
      </p:sp>
      <p:graphicFrame>
        <p:nvGraphicFramePr>
          <p:cNvPr id="5" name="SmartAr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9536653"/>
              </p:ext>
            </p:extLst>
          </p:nvPr>
        </p:nvGraphicFramePr>
        <p:xfrm>
          <a:off x="461319" y="1647568"/>
          <a:ext cx="11616381" cy="436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9540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mtClean="0">
                <a:solidFill>
                  <a:schemeClr val="bg1"/>
                </a:solidFill>
              </a:rPr>
              <a:t>Publishing Terminology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Publishing Terminology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BF86ACB6-83AD-C64A-9DF7-000AC6D9CE9E}" type="slidenum">
              <a:rPr lang="en-US" smtClean="0"/>
              <a:pPr/>
              <a:t>13</a:t>
            </a:fld>
            <a:endParaRPr lang="en-US"/>
          </a:p>
        </p:txBody>
      </p:sp>
      <p:graphicFrame>
        <p:nvGraphicFramePr>
          <p:cNvPr id="5" name="SmartAr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5637702"/>
              </p:ext>
            </p:extLst>
          </p:nvPr>
        </p:nvGraphicFramePr>
        <p:xfrm>
          <a:off x="812800" y="1690255"/>
          <a:ext cx="10464800" cy="436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0544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mtClean="0">
                <a:solidFill>
                  <a:schemeClr val="bg1"/>
                </a:solidFill>
              </a:rPr>
              <a:t>Developer Terminology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Developer Terminology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BF86ACB6-83AD-C64A-9DF7-000AC6D9CE9E}" type="slidenum">
              <a:rPr lang="en-US" smtClean="0"/>
              <a:pPr/>
              <a:t>14</a:t>
            </a:fld>
            <a:endParaRPr lang="en-US"/>
          </a:p>
        </p:txBody>
      </p:sp>
      <p:graphicFrame>
        <p:nvGraphicFramePr>
          <p:cNvPr id="5" name="SmartAr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480866"/>
              </p:ext>
            </p:extLst>
          </p:nvPr>
        </p:nvGraphicFramePr>
        <p:xfrm>
          <a:off x="812800" y="1839119"/>
          <a:ext cx="10464800" cy="436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36911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mtClean="0">
                <a:solidFill>
                  <a:schemeClr val="bg1"/>
                </a:solidFill>
              </a:rPr>
              <a:t>Developer Terminology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Developer Terminology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BF86ACB6-83AD-C64A-9DF7-000AC6D9CE9E}" type="slidenum">
              <a:rPr lang="en-US" smtClean="0"/>
              <a:pPr/>
              <a:t>15</a:t>
            </a:fld>
            <a:endParaRPr lang="en-US"/>
          </a:p>
        </p:txBody>
      </p:sp>
      <p:graphicFrame>
        <p:nvGraphicFramePr>
          <p:cNvPr id="5" name="SmartAr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674053"/>
              </p:ext>
            </p:extLst>
          </p:nvPr>
        </p:nvGraphicFramePr>
        <p:xfrm>
          <a:off x="812800" y="1777416"/>
          <a:ext cx="10464800" cy="436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0124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Editing, Creating &amp; Publishing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56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0955"/>
            <a:ext cx="12192000" cy="5879507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832168" y="6472767"/>
            <a:ext cx="359833" cy="368300"/>
          </a:xfrm>
        </p:spPr>
        <p:txBody>
          <a:bodyPr/>
          <a:lstStyle/>
          <a:p>
            <a:fld id="{7FB49551-53E8-4393-AD65-CB41CA59725B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402891" y="55438"/>
            <a:ext cx="2336800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mpd="sng">
            <a:solidFill>
              <a:srgbClr val="459FD0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b="1">
                <a:solidFill>
                  <a:srgbClr val="73C30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MENU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176543" y="1354883"/>
            <a:ext cx="1684563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rgbClr val="459FD0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b="1">
                <a:solidFill>
                  <a:srgbClr val="73C30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INFO PANEL</a:t>
            </a:r>
          </a:p>
        </p:txBody>
      </p:sp>
      <p:sp>
        <p:nvSpPr>
          <p:cNvPr id="15" name="Rounded Rectangle 14"/>
          <p:cNvSpPr>
            <a:spLocks noChangeArrowheads="1"/>
          </p:cNvSpPr>
          <p:nvPr/>
        </p:nvSpPr>
        <p:spPr bwMode="auto">
          <a:xfrm>
            <a:off x="418832" y="1121026"/>
            <a:ext cx="2110656" cy="435133"/>
          </a:xfrm>
          <a:prstGeom prst="roundRect">
            <a:avLst>
              <a:gd name="adj" fmla="val 16667"/>
            </a:avLst>
          </a:prstGeom>
          <a:solidFill>
            <a:srgbClr val="FFC000">
              <a:alpha val="34901"/>
            </a:srgbClr>
          </a:solidFill>
          <a:ln w="44450">
            <a:solidFill>
              <a:srgbClr val="73C30F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E46C0A"/>
              </a:solidFill>
            </a:endParaRPr>
          </a:p>
        </p:txBody>
      </p:sp>
      <p:sp>
        <p:nvSpPr>
          <p:cNvPr id="16" name="Rounded Rectangle 15"/>
          <p:cNvSpPr>
            <a:spLocks noChangeArrowheads="1"/>
          </p:cNvSpPr>
          <p:nvPr/>
        </p:nvSpPr>
        <p:spPr bwMode="auto">
          <a:xfrm>
            <a:off x="1368528" y="601523"/>
            <a:ext cx="1371163" cy="258572"/>
          </a:xfrm>
          <a:prstGeom prst="roundRect">
            <a:avLst>
              <a:gd name="adj" fmla="val 16667"/>
            </a:avLst>
          </a:prstGeom>
          <a:solidFill>
            <a:srgbClr val="FFC000">
              <a:alpha val="34901"/>
            </a:srgbClr>
          </a:solidFill>
          <a:ln w="44450">
            <a:solidFill>
              <a:srgbClr val="73C30F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E46C0A"/>
              </a:solidFill>
            </a:endParaRPr>
          </a:p>
        </p:txBody>
      </p:sp>
      <p:sp>
        <p:nvSpPr>
          <p:cNvPr id="17" name="Rounded Rectangle 16"/>
          <p:cNvSpPr>
            <a:spLocks noChangeArrowheads="1"/>
          </p:cNvSpPr>
          <p:nvPr/>
        </p:nvSpPr>
        <p:spPr bwMode="auto">
          <a:xfrm>
            <a:off x="7166206" y="1079476"/>
            <a:ext cx="2927924" cy="267280"/>
          </a:xfrm>
          <a:prstGeom prst="roundRect">
            <a:avLst>
              <a:gd name="adj" fmla="val 16667"/>
            </a:avLst>
          </a:prstGeom>
          <a:solidFill>
            <a:srgbClr val="FFC000">
              <a:alpha val="34901"/>
            </a:srgbClr>
          </a:solidFill>
          <a:ln w="44450">
            <a:solidFill>
              <a:srgbClr val="73C30F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E46C0A"/>
              </a:solidFill>
            </a:endParaRPr>
          </a:p>
        </p:txBody>
      </p:sp>
      <p:sp>
        <p:nvSpPr>
          <p:cNvPr id="21" name="Rounded Rectangle 20"/>
          <p:cNvSpPr>
            <a:spLocks noChangeArrowheads="1"/>
          </p:cNvSpPr>
          <p:nvPr/>
        </p:nvSpPr>
        <p:spPr bwMode="auto">
          <a:xfrm>
            <a:off x="10079694" y="1284182"/>
            <a:ext cx="2119359" cy="5113039"/>
          </a:xfrm>
          <a:prstGeom prst="roundRect">
            <a:avLst>
              <a:gd name="adj" fmla="val 16667"/>
            </a:avLst>
          </a:prstGeom>
          <a:noFill/>
          <a:ln w="44450">
            <a:solidFill>
              <a:srgbClr val="73C30F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E46C0A"/>
              </a:solidFill>
            </a:endParaRPr>
          </a:p>
        </p:txBody>
      </p:sp>
      <p:sp>
        <p:nvSpPr>
          <p:cNvPr id="23" name="Rounded Rectangle 8"/>
          <p:cNvSpPr>
            <a:spLocks noChangeArrowheads="1"/>
          </p:cNvSpPr>
          <p:nvPr/>
        </p:nvSpPr>
        <p:spPr bwMode="auto">
          <a:xfrm>
            <a:off x="402891" y="1611880"/>
            <a:ext cx="2097423" cy="4828581"/>
          </a:xfrm>
          <a:prstGeom prst="roundRect">
            <a:avLst>
              <a:gd name="adj" fmla="val 16667"/>
            </a:avLst>
          </a:prstGeom>
          <a:noFill/>
          <a:ln w="50800">
            <a:solidFill>
              <a:srgbClr val="73C30F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E46C0A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433189" y="3279871"/>
            <a:ext cx="1898076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rgbClr val="459FD0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b="1">
                <a:solidFill>
                  <a:srgbClr val="73C30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CONTENT DETAIL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529488" y="2045876"/>
            <a:ext cx="1873976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rgbClr val="459FD0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b="1">
                <a:solidFill>
                  <a:srgbClr val="73C30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FILE VIEW</a:t>
            </a:r>
          </a:p>
        </p:txBody>
      </p:sp>
      <p:sp>
        <p:nvSpPr>
          <p:cNvPr id="29" name="Rounded Rectangle 28"/>
          <p:cNvSpPr>
            <a:spLocks noChangeArrowheads="1"/>
          </p:cNvSpPr>
          <p:nvPr/>
        </p:nvSpPr>
        <p:spPr bwMode="auto">
          <a:xfrm>
            <a:off x="-15941" y="878488"/>
            <a:ext cx="418832" cy="4455512"/>
          </a:xfrm>
          <a:prstGeom prst="roundRect">
            <a:avLst>
              <a:gd name="adj" fmla="val 16667"/>
            </a:avLst>
          </a:prstGeom>
          <a:noFill/>
          <a:ln w="44450">
            <a:solidFill>
              <a:srgbClr val="73C30F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E46C0A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-15941" y="4750182"/>
            <a:ext cx="2032000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rgbClr val="459FD0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b="1">
                <a:solidFill>
                  <a:srgbClr val="73C30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SECTION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978631" y="1225366"/>
            <a:ext cx="3473837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rgbClr val="459FD0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b="1">
                <a:solidFill>
                  <a:srgbClr val="73C30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BREADCRUMB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203475" y="547881"/>
            <a:ext cx="2853384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rgbClr val="459FD0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b="1">
                <a:solidFill>
                  <a:srgbClr val="73C30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CONTENT CONTROLS</a:t>
            </a:r>
          </a:p>
        </p:txBody>
      </p:sp>
      <p:sp>
        <p:nvSpPr>
          <p:cNvPr id="27" name="Rounded Rectangle 26"/>
          <p:cNvSpPr>
            <a:spLocks noChangeArrowheads="1"/>
          </p:cNvSpPr>
          <p:nvPr/>
        </p:nvSpPr>
        <p:spPr bwMode="auto">
          <a:xfrm>
            <a:off x="11087548" y="528650"/>
            <a:ext cx="1164389" cy="349839"/>
          </a:xfrm>
          <a:prstGeom prst="roundRect">
            <a:avLst>
              <a:gd name="adj" fmla="val 16667"/>
            </a:avLst>
          </a:prstGeom>
          <a:noFill/>
          <a:ln w="44450">
            <a:solidFill>
              <a:srgbClr val="73C30F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E46C0A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0056858" y="3902"/>
            <a:ext cx="219507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rgbClr val="459FD0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b="1">
                <a:solidFill>
                  <a:srgbClr val="73C30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NOTIFICATIONS</a:t>
            </a:r>
          </a:p>
        </p:txBody>
      </p:sp>
    </p:spTree>
    <p:extLst>
      <p:ext uri="{BB962C8B-B14F-4D97-AF65-F5344CB8AC3E}">
        <p14:creationId xmlns:p14="http://schemas.microsoft.com/office/powerpoint/2010/main" val="1839005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5" grpId="0" animBg="1"/>
      <p:bldP spid="16" grpId="0" animBg="1"/>
      <p:bldP spid="17" grpId="0" animBg="1"/>
      <p:bldP spid="21" grpId="0" animBg="1"/>
      <p:bldP spid="23" grpId="0" animBg="1"/>
      <p:bldP spid="24" grpId="0" animBg="1"/>
      <p:bldP spid="26" grpId="0" animBg="1"/>
      <p:bldP spid="29" grpId="0" animBg="1"/>
      <p:bldP spid="20" grpId="0" animBg="1"/>
      <p:bldP spid="18" grpId="0" animBg="1"/>
      <p:bldP spid="19" grpId="0" animBg="1"/>
      <p:bldP spid="27" grpId="0" animBg="1"/>
      <p:bldP spid="2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84" y="1524001"/>
            <a:ext cx="9969632" cy="5883717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line Editing Mo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127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319" y="1432212"/>
            <a:ext cx="9989363" cy="5895362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orm </a:t>
            </a:r>
            <a:r>
              <a:rPr lang="en-US"/>
              <a:t>Editing mo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16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onfiguring Your Syst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48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5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mtClean="0"/>
              <a:t>Creating New Sections &amp; Pages - Models</a:t>
            </a:r>
            <a:endParaRPr lang="en-US"/>
          </a:p>
        </p:txBody>
      </p:sp>
      <p:sp>
        <p:nvSpPr>
          <p:cNvPr id="29699" name="Rectangle 6"/>
          <p:cNvSpPr>
            <a:spLocks noGrp="1" noChangeArrowheads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sz="3467">
                <a:solidFill>
                  <a:schemeClr val="bg1"/>
                </a:solidFill>
              </a:rPr>
              <a:t>Models</a:t>
            </a:r>
          </a:p>
          <a:p>
            <a:pPr lvl="1">
              <a:spcBef>
                <a:spcPts val="400"/>
              </a:spcBef>
            </a:pPr>
            <a:r>
              <a:rPr lang="en-US">
                <a:solidFill>
                  <a:schemeClr val="bg1"/>
                </a:solidFill>
              </a:rPr>
              <a:t>Accessed from the New menu</a:t>
            </a:r>
            <a:br>
              <a:rPr lang="en-US">
                <a:solidFill>
                  <a:schemeClr val="bg1"/>
                </a:solidFill>
              </a:rPr>
            </a:br>
            <a:endParaRPr lang="en-US">
              <a:solidFill>
                <a:schemeClr val="bg1"/>
              </a:solidFill>
            </a:endParaRPr>
          </a:p>
          <a:p>
            <a:pPr lvl="1">
              <a:spcBef>
                <a:spcPts val="400"/>
              </a:spcBef>
            </a:pPr>
            <a:r>
              <a:rPr lang="en-US">
                <a:solidFill>
                  <a:schemeClr val="bg1"/>
                </a:solidFill>
              </a:rPr>
              <a:t>Implemented by developers or site administrators, models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are used for creation of most pages and sections</a:t>
            </a:r>
            <a:br>
              <a:rPr lang="en-US">
                <a:solidFill>
                  <a:schemeClr val="bg1"/>
                </a:solidFill>
              </a:rPr>
            </a:br>
            <a:endParaRPr lang="en-US">
              <a:solidFill>
                <a:schemeClr val="bg1"/>
              </a:solidFill>
            </a:endParaRPr>
          </a:p>
          <a:p>
            <a:pPr lvl="1">
              <a:spcBef>
                <a:spcPts val="400"/>
              </a:spcBef>
            </a:pPr>
            <a:r>
              <a:rPr lang="en-US">
                <a:solidFill>
                  <a:schemeClr val="bg1"/>
                </a:solidFill>
              </a:rPr>
              <a:t>Models ensure that all configuration settings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will be the same</a:t>
            </a:r>
          </a:p>
          <a:p>
            <a:pPr lvl="2">
              <a:spcBef>
                <a:spcPts val="400"/>
              </a:spcBef>
            </a:pPr>
            <a:r>
              <a:rPr lang="en-US" sz="2133">
                <a:solidFill>
                  <a:schemeClr val="bg1"/>
                </a:solidFill>
              </a:rPr>
              <a:t>Template</a:t>
            </a:r>
          </a:p>
          <a:p>
            <a:pPr lvl="2">
              <a:spcBef>
                <a:spcPts val="400"/>
              </a:spcBef>
            </a:pPr>
            <a:r>
              <a:rPr lang="en-US" sz="2133">
                <a:solidFill>
                  <a:schemeClr val="bg1"/>
                </a:solidFill>
              </a:rPr>
              <a:t>Workflow</a:t>
            </a:r>
          </a:p>
          <a:p>
            <a:pPr lvl="2">
              <a:spcBef>
                <a:spcPts val="400"/>
              </a:spcBef>
            </a:pPr>
            <a:r>
              <a:rPr lang="en-US" sz="2133">
                <a:solidFill>
                  <a:schemeClr val="bg1"/>
                </a:solidFill>
              </a:rPr>
              <a:t>Access Properties</a:t>
            </a:r>
            <a:br>
              <a:rPr lang="en-US" sz="2133">
                <a:solidFill>
                  <a:schemeClr val="bg1"/>
                </a:solidFill>
              </a:rPr>
            </a:br>
            <a:endParaRPr lang="en-US" sz="2133">
              <a:solidFill>
                <a:schemeClr val="bg1"/>
              </a:solidFill>
            </a:endParaRPr>
          </a:p>
          <a:p>
            <a:pPr lvl="1">
              <a:spcBef>
                <a:spcPts val="400"/>
              </a:spcBef>
            </a:pPr>
            <a:r>
              <a:rPr lang="en-US">
                <a:solidFill>
                  <a:schemeClr val="bg1"/>
                </a:solidFill>
              </a:rPr>
              <a:t>Can be used to create a single asset, a section, or an entire site</a:t>
            </a:r>
          </a:p>
          <a:p>
            <a:r>
              <a:rPr lang="en-US">
                <a:solidFill>
                  <a:schemeClr val="bg1"/>
                </a:solidFill>
              </a:rPr>
              <a:t>Ideal for</a:t>
            </a:r>
          </a:p>
          <a:p>
            <a:pPr lvl="1">
              <a:spcBef>
                <a:spcPts val="400"/>
              </a:spcBef>
            </a:pPr>
            <a:r>
              <a:rPr lang="en-US">
                <a:solidFill>
                  <a:schemeClr val="bg1"/>
                </a:solidFill>
              </a:rPr>
              <a:t>End-users, templated content, simple or complex structures, creating brand-new cont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6713"/>
          </a:xfrm>
        </p:spPr>
        <p:txBody>
          <a:bodyPr/>
          <a:lstStyle/>
          <a:p>
            <a:fld id="{BF86ACB6-83AD-C64A-9DF7-000AC6D9CE9E}" type="slidenum">
              <a:rPr lang="en-US" smtClean="0"/>
              <a:t>20</a:t>
            </a:fld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729" y="1870075"/>
            <a:ext cx="4200959" cy="272545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16097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6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mtClean="0"/>
              <a:t>Types of Models</a:t>
            </a:r>
            <a:endParaRPr lang="en-US"/>
          </a:p>
        </p:txBody>
      </p:sp>
      <p:sp>
        <p:nvSpPr>
          <p:cNvPr id="6147" name="Rectangle 7"/>
          <p:cNvSpPr>
            <a:spLocks noGrp="1" noChangeArrowheads="1"/>
          </p:cNvSpPr>
          <p:nvPr>
            <p:ph idx="1"/>
          </p:nvPr>
        </p:nvSpPr>
        <p:spPr>
          <a:xfrm>
            <a:off x="838200" y="1825625"/>
            <a:ext cx="9976556" cy="4351338"/>
          </a:xfrm>
        </p:spPr>
        <p:txBody>
          <a:bodyPr>
            <a:normAutofit/>
          </a:bodyPr>
          <a:lstStyle/>
          <a:p>
            <a:r>
              <a:rPr lang="en-US" sz="2200">
                <a:solidFill>
                  <a:schemeClr val="bg1"/>
                </a:solidFill>
              </a:rPr>
              <a:t>Simple Model</a:t>
            </a:r>
          </a:p>
          <a:p>
            <a:pPr lvl="1"/>
            <a:r>
              <a:rPr lang="en-US" sz="2200">
                <a:solidFill>
                  <a:schemeClr val="bg1"/>
                </a:solidFill>
              </a:rPr>
              <a:t>Single asset or single folder: e.g., new Article or new Press Release Year</a:t>
            </a:r>
          </a:p>
          <a:p>
            <a:pPr lvl="1"/>
            <a:endParaRPr lang="en-US" sz="2200">
              <a:solidFill>
                <a:schemeClr val="bg1"/>
              </a:solidFill>
            </a:endParaRPr>
          </a:p>
          <a:p>
            <a:endParaRPr lang="en-US" sz="2000" smtClean="0">
              <a:solidFill>
                <a:schemeClr val="bg1"/>
              </a:solidFill>
            </a:endParaRPr>
          </a:p>
          <a:p>
            <a:endParaRPr lang="en-US" sz="2000">
              <a:solidFill>
                <a:schemeClr val="bg1"/>
              </a:solidFill>
            </a:endParaRPr>
          </a:p>
          <a:p>
            <a:r>
              <a:rPr lang="en-US" sz="2000" smtClean="0">
                <a:solidFill>
                  <a:schemeClr val="bg1"/>
                </a:solidFill>
              </a:rPr>
              <a:t>Intermediate </a:t>
            </a:r>
            <a:r>
              <a:rPr lang="en-US" sz="2000">
                <a:solidFill>
                  <a:schemeClr val="bg1"/>
                </a:solidFill>
              </a:rPr>
              <a:t>Model</a:t>
            </a:r>
          </a:p>
          <a:p>
            <a:pPr lvl="1"/>
            <a:r>
              <a:rPr lang="en-US" sz="2000">
                <a:solidFill>
                  <a:schemeClr val="bg1"/>
                </a:solidFill>
              </a:rPr>
              <a:t>Model with a group of assets or folders</a:t>
            </a:r>
          </a:p>
          <a:p>
            <a:pPr lvl="1"/>
            <a:r>
              <a:rPr lang="en-US" sz="2000">
                <a:solidFill>
                  <a:schemeClr val="bg1"/>
                </a:solidFill>
              </a:rPr>
              <a:t>Model with a folder pre-populated with asse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6713"/>
          </a:xfrm>
        </p:spPr>
        <p:txBody>
          <a:bodyPr/>
          <a:lstStyle/>
          <a:p>
            <a:fld id="{BF86ACB6-83AD-C64A-9DF7-000AC6D9CE9E}" type="slidenum">
              <a:rPr lang="en-US" smtClean="0"/>
              <a:t>21</a:t>
            </a:fld>
            <a:endParaRPr lang="en-US"/>
          </a:p>
        </p:txBody>
      </p:sp>
      <p:pic>
        <p:nvPicPr>
          <p:cNvPr id="11268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13616" y="2746110"/>
            <a:ext cx="6653189" cy="100647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9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83524" y="5078413"/>
            <a:ext cx="6883281" cy="127793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2077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15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mtClean="0"/>
              <a:t>Types of Models</a:t>
            </a:r>
            <a:endParaRPr lang="en-US"/>
          </a:p>
        </p:txBody>
      </p:sp>
      <p:sp>
        <p:nvSpPr>
          <p:cNvPr id="7171" name="Rectangle 16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Recursive Model</a:t>
            </a:r>
          </a:p>
          <a:p>
            <a:pPr lvl="1"/>
            <a:r>
              <a:rPr lang="en-US">
                <a:solidFill>
                  <a:schemeClr val="bg1"/>
                </a:solidFill>
              </a:rPr>
              <a:t>Folder that calls itself as a model – allows for deep hierarchy of content</a:t>
            </a:r>
          </a:p>
          <a:p>
            <a:pPr lvl="1"/>
            <a:r>
              <a:rPr lang="en-US">
                <a:solidFill>
                  <a:schemeClr val="bg1"/>
                </a:solidFill>
              </a:rPr>
              <a:t>E.g., a Subsection folder that can create new pages or new subsections inside </a:t>
            </a:r>
            <a:r>
              <a:rPr lang="en-US" smtClean="0">
                <a:solidFill>
                  <a:schemeClr val="bg1"/>
                </a:solidFill>
              </a:rPr>
              <a:t>it </a:t>
            </a:r>
            <a:r>
              <a:rPr lang="en-US">
                <a:solidFill>
                  <a:schemeClr val="bg1"/>
                </a:solidFill>
              </a:rPr>
              <a:t>to create nested subsections</a:t>
            </a:r>
          </a:p>
          <a:p>
            <a:endParaRPr lang="en-US">
              <a:solidFill>
                <a:schemeClr val="bg1"/>
              </a:solidFill>
            </a:endParaRPr>
          </a:p>
          <a:p>
            <a:endParaRPr lang="en-US">
              <a:solidFill>
                <a:schemeClr val="bg1"/>
              </a:solidFill>
            </a:endParaRPr>
          </a:p>
          <a:p>
            <a:endParaRPr lang="en-US">
              <a:solidFill>
                <a:schemeClr val="bg1"/>
              </a:solidFill>
            </a:endParaRPr>
          </a:p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6713"/>
          </a:xfrm>
        </p:spPr>
        <p:txBody>
          <a:bodyPr/>
          <a:lstStyle/>
          <a:p>
            <a:fld id="{BF86ACB6-83AD-C64A-9DF7-000AC6D9CE9E}" type="slidenum">
              <a:rPr lang="en-US" smtClean="0"/>
              <a:t>22</a:t>
            </a:fld>
            <a:endParaRPr lang="en-US"/>
          </a:p>
        </p:txBody>
      </p:sp>
      <p:pic>
        <p:nvPicPr>
          <p:cNvPr id="12292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8199" y="3609597"/>
            <a:ext cx="9233452" cy="145886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3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56593" y="4959741"/>
            <a:ext cx="6998744" cy="176279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81894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4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mtClean="0"/>
              <a:t>Changing Models</a:t>
            </a:r>
            <a:endParaRPr lang="en-US"/>
          </a:p>
        </p:txBody>
      </p:sp>
      <p:sp>
        <p:nvSpPr>
          <p:cNvPr id="5123" name="Rectangle 5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Changing Models</a:t>
            </a:r>
          </a:p>
          <a:p>
            <a:pPr lvl="1"/>
            <a:r>
              <a:rPr lang="en-US">
                <a:solidFill>
                  <a:schemeClr val="bg1"/>
                </a:solidFill>
              </a:rPr>
              <a:t>Updating the model will not retroactively update content created by that model.</a:t>
            </a:r>
          </a:p>
          <a:p>
            <a:pPr lvl="1"/>
            <a:r>
              <a:rPr lang="en-US">
                <a:solidFill>
                  <a:schemeClr val="bg1"/>
                </a:solidFill>
              </a:rPr>
              <a:t>As a result, it’s important to get your Models configured properly the first time.</a:t>
            </a:r>
          </a:p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6713"/>
          </a:xfrm>
        </p:spPr>
        <p:txBody>
          <a:bodyPr/>
          <a:lstStyle/>
          <a:p>
            <a:fld id="{BF86ACB6-83AD-C64A-9DF7-000AC6D9CE9E}" type="slidenum">
              <a:rPr lang="en-US" smtClean="0"/>
              <a:t>23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8135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Publishing</a:t>
            </a:r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4767" y="1981017"/>
            <a:ext cx="7882467" cy="4581313"/>
          </a:xfrm>
          <a:prstGeom prst="rect">
            <a:avLst/>
          </a:prstGeom>
          <a:effectLst>
            <a:outerShdw blurRad="292100" dist="139700" dir="2700000" algn="tl" rotWithShape="0">
              <a:prstClr val="black">
                <a:alpha val="6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19626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12188388" cy="6857999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-121920" y="1450848"/>
            <a:ext cx="12411456" cy="5407152"/>
          </a:xfrm>
          <a:prstGeom prst="rect">
            <a:avLst/>
          </a:prstGeom>
          <a:solidFill>
            <a:schemeClr val="bg1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Crownpeak CMS UI </a:t>
            </a:r>
            <a:r>
              <a:rPr lang="mr-IN" b="1" dirty="0" smtClean="0">
                <a:solidFill>
                  <a:schemeClr val="bg1"/>
                </a:solidFill>
              </a:rPr>
              <a:t>–</a:t>
            </a:r>
            <a:r>
              <a:rPr lang="en-GB" b="1" dirty="0" smtClean="0">
                <a:solidFill>
                  <a:schemeClr val="bg1"/>
                </a:solidFill>
              </a:rPr>
              <a:t> V3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sz="half" idx="1"/>
          </p:nvPr>
        </p:nvSpPr>
        <p:spPr>
          <a:xfrm>
            <a:off x="521095" y="2999360"/>
            <a:ext cx="4593822" cy="2508984"/>
          </a:xfrm>
        </p:spPr>
        <p:txBody>
          <a:bodyPr>
            <a:normAutofit fontScale="85000" lnSpcReduction="20000"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+mn-lt"/>
                <a:cs typeface="Arial Regular"/>
              </a:rPr>
              <a:t>Responsive / lightweight</a:t>
            </a:r>
          </a:p>
          <a:p>
            <a:r>
              <a:rPr lang="en-US" sz="2400" dirty="0" smtClean="0">
                <a:solidFill>
                  <a:schemeClr val="bg1"/>
                </a:solidFill>
                <a:latin typeface="+mn-lt"/>
                <a:cs typeface="Arial Regular"/>
              </a:rPr>
              <a:t>Based </a:t>
            </a:r>
            <a:r>
              <a:rPr lang="en-US" sz="2400" dirty="0">
                <a:solidFill>
                  <a:schemeClr val="bg1"/>
                </a:solidFill>
                <a:latin typeface="+mn-lt"/>
                <a:cs typeface="Arial Regular"/>
              </a:rPr>
              <a:t>on HTML5 </a:t>
            </a:r>
            <a:r>
              <a:rPr lang="en-US" sz="2400" dirty="0" smtClean="0">
                <a:solidFill>
                  <a:schemeClr val="bg1"/>
                </a:solidFill>
                <a:latin typeface="+mn-lt"/>
                <a:cs typeface="Arial Regular"/>
              </a:rPr>
              <a:t>&amp; CSS3</a:t>
            </a:r>
          </a:p>
          <a:p>
            <a:r>
              <a:rPr lang="en-US" sz="2400" dirty="0" smtClean="0">
                <a:solidFill>
                  <a:schemeClr val="bg1"/>
                </a:solidFill>
                <a:latin typeface="+mn-lt"/>
                <a:cs typeface="Arial Regular"/>
              </a:rPr>
              <a:t>Designed </a:t>
            </a:r>
            <a:r>
              <a:rPr lang="en-US" sz="2400" dirty="0">
                <a:solidFill>
                  <a:schemeClr val="bg1"/>
                </a:solidFill>
                <a:latin typeface="+mn-lt"/>
                <a:cs typeface="Arial Regular"/>
              </a:rPr>
              <a:t>for desktop and </a:t>
            </a:r>
            <a:r>
              <a:rPr lang="en-US" sz="2400" dirty="0" smtClean="0">
                <a:solidFill>
                  <a:schemeClr val="bg1"/>
                </a:solidFill>
                <a:latin typeface="+mn-lt"/>
                <a:cs typeface="Arial Regular"/>
              </a:rPr>
              <a:t>tablet</a:t>
            </a:r>
          </a:p>
          <a:p>
            <a:r>
              <a:rPr lang="en-US" sz="2400" dirty="0" smtClean="0">
                <a:solidFill>
                  <a:schemeClr val="bg1"/>
                </a:solidFill>
                <a:latin typeface="+mn-lt"/>
                <a:cs typeface="Arial Regular"/>
              </a:rPr>
              <a:t>Easy </a:t>
            </a:r>
            <a:r>
              <a:rPr lang="en-US" sz="2400" dirty="0">
                <a:solidFill>
                  <a:schemeClr val="bg1"/>
                </a:solidFill>
                <a:latin typeface="+mn-lt"/>
                <a:cs typeface="Arial Regular"/>
              </a:rPr>
              <a:t>to </a:t>
            </a:r>
            <a:r>
              <a:rPr lang="en-US" sz="2400" dirty="0" smtClean="0">
                <a:solidFill>
                  <a:schemeClr val="bg1"/>
                </a:solidFill>
                <a:latin typeface="+mn-lt"/>
                <a:cs typeface="Arial Regular"/>
              </a:rPr>
              <a:t>navigate</a:t>
            </a:r>
          </a:p>
          <a:p>
            <a:r>
              <a:rPr lang="en-US" sz="2400" dirty="0" smtClean="0">
                <a:solidFill>
                  <a:schemeClr val="bg1"/>
                </a:solidFill>
                <a:latin typeface="+mn-lt"/>
                <a:cs typeface="Arial Regular"/>
              </a:rPr>
              <a:t>Backwards compatible</a:t>
            </a:r>
          </a:p>
          <a:p>
            <a:pPr lvl="1"/>
            <a:r>
              <a:rPr lang="en-US" sz="2000" dirty="0" smtClean="0">
                <a:solidFill>
                  <a:schemeClr val="bg1"/>
                </a:solidFill>
                <a:cs typeface="Arial Regular"/>
              </a:rPr>
              <a:t>Internet Explorer 11+</a:t>
            </a:r>
          </a:p>
          <a:p>
            <a:pPr lvl="1"/>
            <a:r>
              <a:rPr lang="en-US" sz="2000" dirty="0" smtClean="0">
                <a:solidFill>
                  <a:schemeClr val="bg1"/>
                </a:solidFill>
                <a:cs typeface="Arial Regular"/>
              </a:rPr>
              <a:t>Safari</a:t>
            </a:r>
          </a:p>
          <a:p>
            <a:pPr lvl="1"/>
            <a:r>
              <a:rPr lang="en-US" sz="2000" dirty="0" smtClean="0">
                <a:solidFill>
                  <a:schemeClr val="bg1"/>
                </a:solidFill>
                <a:cs typeface="Arial Regular"/>
              </a:rPr>
              <a:t>Chrome</a:t>
            </a:r>
            <a:endParaRPr lang="en-US" sz="2000" dirty="0">
              <a:solidFill>
                <a:schemeClr val="bg1"/>
              </a:solidFill>
              <a:cs typeface="Arial Regular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21095" y="2007645"/>
            <a:ext cx="593413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cs typeface="Arial Regular"/>
              </a:rPr>
              <a:t>https://</a:t>
            </a:r>
            <a:r>
              <a:rPr lang="en-US" sz="2000" b="1" dirty="0" err="1" smtClean="0">
                <a:solidFill>
                  <a:schemeClr val="bg1"/>
                </a:solidFill>
                <a:cs typeface="Arial Regular"/>
              </a:rPr>
              <a:t>cms.crownpeak.net</a:t>
            </a:r>
            <a:r>
              <a:rPr lang="en-US" sz="2000" b="1" dirty="0" smtClean="0">
                <a:solidFill>
                  <a:schemeClr val="bg1"/>
                </a:solidFill>
                <a:cs typeface="Arial Regular"/>
              </a:rPr>
              <a:t>/CPUK/V3</a:t>
            </a:r>
            <a:r>
              <a:rPr lang="en-US" sz="2000" b="1" dirty="0">
                <a:solidFill>
                  <a:schemeClr val="bg1"/>
                </a:solidFill>
                <a:cs typeface="Arial Regular"/>
              </a:rPr>
              <a:t>/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214490" y="1886961"/>
            <a:ext cx="8000364" cy="4534926"/>
            <a:chOff x="7682665" y="1630102"/>
            <a:chExt cx="21334305" cy="12093137"/>
          </a:xfrm>
        </p:grpSpPr>
        <p:pic>
          <p:nvPicPr>
            <p:cNvPr id="10" name="macbookair.png"/>
            <p:cNvPicPr/>
            <p:nvPr/>
          </p:nvPicPr>
          <p:blipFill>
            <a:blip r:embed="rId4">
              <a:extLst/>
            </a:blip>
            <a:srcRect l="14674" t="22491" r="14674" b="13432"/>
            <a:stretch>
              <a:fillRect/>
            </a:stretch>
          </p:blipFill>
          <p:spPr>
            <a:xfrm>
              <a:off x="7682665" y="1630102"/>
              <a:ext cx="21334305" cy="12093137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5"/>
            <a:srcRect t="8857" r="1741" b="605"/>
            <a:stretch/>
          </p:blipFill>
          <p:spPr>
            <a:xfrm>
              <a:off x="11121119" y="2750431"/>
              <a:ext cx="13706475" cy="85366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02937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12188388" cy="6857999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-121920" y="1450848"/>
            <a:ext cx="12411456" cy="5407152"/>
          </a:xfrm>
          <a:prstGeom prst="rect">
            <a:avLst/>
          </a:prstGeom>
          <a:solidFill>
            <a:schemeClr val="bg1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>
                <a:solidFill>
                  <a:schemeClr val="bg1"/>
                </a:solidFill>
              </a:rPr>
              <a:t>Crownpeak CMS UI </a:t>
            </a:r>
            <a:r>
              <a:rPr lang="mr-IN" smtClean="0">
                <a:solidFill>
                  <a:schemeClr val="bg1"/>
                </a:solidFill>
              </a:rPr>
              <a:t>–</a:t>
            </a:r>
            <a:r>
              <a:rPr lang="en-GB" smtClean="0">
                <a:solidFill>
                  <a:schemeClr val="bg1"/>
                </a:solidFill>
              </a:rPr>
              <a:t> Volte (Administration)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sz="half" idx="1"/>
          </p:nvPr>
        </p:nvSpPr>
        <p:spPr>
          <a:xfrm>
            <a:off x="521095" y="3019851"/>
            <a:ext cx="4593822" cy="2508984"/>
          </a:xfrm>
        </p:spPr>
        <p:txBody>
          <a:bodyPr>
            <a:noAutofit/>
          </a:bodyPr>
          <a:lstStyle/>
          <a:p>
            <a:pPr marL="342894" indent="-228600" defTabSz="9144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  <a:latin typeface="+mn-lt"/>
                <a:cs typeface="Arial Regular"/>
              </a:rPr>
              <a:t>Silverlight Out-of-Browser</a:t>
            </a:r>
          </a:p>
          <a:p>
            <a:pPr marL="342894" indent="-228600" defTabSz="9144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  <a:latin typeface="+mn-lt"/>
                <a:cs typeface="Arial Regular"/>
              </a:rPr>
              <a:t>PC:</a:t>
            </a:r>
          </a:p>
          <a:p>
            <a:pPr marL="800083" lvl="1" indent="-228600" defTabSz="9144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  <a:ea typeface="Calibri Light" charset="0"/>
                <a:cs typeface="Arial Regular"/>
              </a:rPr>
              <a:t>Select Icon on Desktop or Start Menu</a:t>
            </a:r>
          </a:p>
          <a:p>
            <a:pPr marL="342894" indent="-228600" defTabSz="9144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  <a:latin typeface="+mn-lt"/>
                <a:cs typeface="Arial Regular"/>
              </a:rPr>
              <a:t>MAC:</a:t>
            </a:r>
          </a:p>
          <a:p>
            <a:pPr marL="800083" lvl="1" indent="-228600" defTabSz="9144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  <a:ea typeface="Calibri Light" charset="0"/>
                <a:cs typeface="Arial Regular"/>
              </a:rPr>
              <a:t>Shortcut in Download Folder</a:t>
            </a:r>
          </a:p>
        </p:txBody>
      </p:sp>
      <p:sp>
        <p:nvSpPr>
          <p:cNvPr id="4" name="Rectangle 3"/>
          <p:cNvSpPr/>
          <p:nvPr/>
        </p:nvSpPr>
        <p:spPr>
          <a:xfrm>
            <a:off x="521095" y="2007645"/>
            <a:ext cx="51721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cs typeface="Arial Regular"/>
              </a:rPr>
              <a:t>https://</a:t>
            </a:r>
            <a:r>
              <a:rPr lang="en-US" b="1" dirty="0" err="1" smtClean="0">
                <a:solidFill>
                  <a:schemeClr val="bg1"/>
                </a:solidFill>
                <a:cs typeface="Arial Regular"/>
              </a:rPr>
              <a:t>cms.crownpeak.net</a:t>
            </a:r>
            <a:r>
              <a:rPr lang="en-US" b="1" smtClean="0">
                <a:solidFill>
                  <a:schemeClr val="bg1"/>
                </a:solidFill>
                <a:cs typeface="Arial Regular"/>
              </a:rPr>
              <a:t>/CPUK/UI/</a:t>
            </a:r>
            <a:endParaRPr lang="en-US" b="1" dirty="0">
              <a:solidFill>
                <a:schemeClr val="bg1"/>
              </a:solidFill>
              <a:cs typeface="Arial Regular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027378" y="2007645"/>
            <a:ext cx="6340251" cy="3658637"/>
            <a:chOff x="5405407" y="2007645"/>
            <a:chExt cx="6340251" cy="3658637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05407" y="2007645"/>
              <a:ext cx="6340251" cy="3658637"/>
            </a:xfrm>
            <a:prstGeom prst="rect">
              <a:avLst/>
            </a:prstGeom>
            <a:ln>
              <a:solidFill>
                <a:schemeClr val="bg1"/>
              </a:solidFill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34200" y="2413874"/>
              <a:ext cx="2223423" cy="2875317"/>
            </a:xfrm>
            <a:prstGeom prst="rect">
              <a:avLst/>
            </a:prstGeom>
          </p:spPr>
        </p:pic>
        <p:sp>
          <p:nvSpPr>
            <p:cNvPr id="10" name="Striped Right Arrow 9"/>
            <p:cNvSpPr/>
            <p:nvPr/>
          </p:nvSpPr>
          <p:spPr>
            <a:xfrm>
              <a:off x="7222918" y="3743992"/>
              <a:ext cx="978408" cy="484632"/>
            </a:xfrm>
            <a:prstGeom prst="stripedRightArrow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" name="Snip Single Corner Rectangle 2"/>
          <p:cNvSpPr/>
          <p:nvPr/>
        </p:nvSpPr>
        <p:spPr>
          <a:xfrm>
            <a:off x="665836" y="5012871"/>
            <a:ext cx="5027393" cy="1727168"/>
          </a:xfrm>
          <a:prstGeom prst="snip1Rect">
            <a:avLst/>
          </a:prstGeom>
          <a:solidFill>
            <a:srgbClr val="FFFF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838200" y="5170714"/>
            <a:ext cx="45879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ilverlight is increasingly difficult to install now that browsers are moving away from the old NSAPI component model.</a:t>
            </a:r>
            <a:br>
              <a:rPr lang="en-US" dirty="0" smtClean="0"/>
            </a:br>
            <a:r>
              <a:rPr lang="en-US" dirty="0" smtClean="0"/>
              <a:t>Use Firefox Long Term Support (LTS) to have the ability to install and enable Silverlight.</a:t>
            </a:r>
            <a:endParaRPr lang="en-US" dirty="0"/>
          </a:p>
        </p:txBody>
      </p:sp>
      <p:sp>
        <p:nvSpPr>
          <p:cNvPr id="7" name="Right Triangle 6"/>
          <p:cNvSpPr/>
          <p:nvPr/>
        </p:nvSpPr>
        <p:spPr>
          <a:xfrm>
            <a:off x="5426200" y="5012870"/>
            <a:ext cx="267029" cy="276321"/>
          </a:xfrm>
          <a:prstGeom prst="rtTriangl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71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12188388" cy="6857999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-121920" y="1450848"/>
            <a:ext cx="12411456" cy="5407152"/>
          </a:xfrm>
          <a:prstGeom prst="rect">
            <a:avLst/>
          </a:prstGeom>
          <a:solidFill>
            <a:schemeClr val="bg1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38199" y="365125"/>
            <a:ext cx="11060289" cy="1325563"/>
          </a:xfrm>
        </p:spPr>
        <p:txBody>
          <a:bodyPr/>
          <a:lstStyle/>
          <a:p>
            <a:r>
              <a:rPr lang="en-GB" smtClean="0">
                <a:solidFill>
                  <a:schemeClr val="bg1"/>
                </a:solidFill>
              </a:rPr>
              <a:t>Crownpeak CMS UI </a:t>
            </a:r>
            <a:r>
              <a:rPr lang="mr-IN" smtClean="0">
                <a:solidFill>
                  <a:schemeClr val="bg1"/>
                </a:solidFill>
              </a:rPr>
              <a:t>–</a:t>
            </a:r>
            <a:r>
              <a:rPr lang="en-GB" smtClean="0">
                <a:solidFill>
                  <a:schemeClr val="bg1"/>
                </a:solidFill>
              </a:rPr>
              <a:t> Developers: Visual Studio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sz="half" idx="1"/>
          </p:nvPr>
        </p:nvSpPr>
        <p:spPr>
          <a:xfrm>
            <a:off x="521095" y="1908102"/>
            <a:ext cx="4954288" cy="3979267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en-US" sz="1600" dirty="0">
                <a:solidFill>
                  <a:schemeClr val="bg1"/>
                </a:solidFill>
                <a:ea typeface="ＭＳ Ｐゴシック" pitchFamily="34" charset="-128"/>
              </a:rPr>
              <a:t>http://</a:t>
            </a:r>
            <a:r>
              <a:rPr lang="en-US" sz="1600" dirty="0" err="1" smtClean="0">
                <a:solidFill>
                  <a:schemeClr val="bg1"/>
                </a:solidFill>
                <a:ea typeface="ＭＳ Ｐゴシック" pitchFamily="34" charset="-128"/>
              </a:rPr>
              <a:t>developer.crownpeak.com</a:t>
            </a:r>
            <a:r>
              <a:rPr lang="en-US" sz="1600" dirty="0" smtClean="0">
                <a:solidFill>
                  <a:schemeClr val="bg1"/>
                </a:solidFill>
                <a:ea typeface="ＭＳ Ｐゴシック" pitchFamily="34" charset="-128"/>
              </a:rPr>
              <a:t>/tools/</a:t>
            </a:r>
            <a:r>
              <a:rPr lang="en-US" sz="1600" dirty="0" err="1" smtClean="0">
                <a:solidFill>
                  <a:schemeClr val="bg1"/>
                </a:solidFill>
                <a:ea typeface="ＭＳ Ｐゴシック" pitchFamily="34" charset="-128"/>
              </a:rPr>
              <a:t>vscdc</a:t>
            </a:r>
            <a:r>
              <a:rPr lang="en-US" sz="1600" dirty="0" smtClean="0">
                <a:solidFill>
                  <a:schemeClr val="bg1"/>
                </a:solidFill>
                <a:ea typeface="ＭＳ Ｐゴシック" pitchFamily="34" charset="-128"/>
              </a:rPr>
              <a:t>/</a:t>
            </a:r>
            <a:r>
              <a:rPr lang="en-US" sz="1600" dirty="0" err="1" smtClean="0">
                <a:solidFill>
                  <a:schemeClr val="bg1"/>
                </a:solidFill>
                <a:ea typeface="ＭＳ Ｐゴシック" pitchFamily="34" charset="-128"/>
              </a:rPr>
              <a:t>index.html</a:t>
            </a:r>
            <a:endParaRPr lang="en-US" sz="1600" dirty="0">
              <a:solidFill>
                <a:schemeClr val="bg1"/>
              </a:solidFill>
            </a:endParaRPr>
          </a:p>
          <a:p>
            <a:endParaRPr lang="en-US" sz="2000" dirty="0" smtClean="0">
              <a:solidFill>
                <a:schemeClr val="bg1"/>
              </a:solidFill>
              <a:latin typeface="+mn-lt"/>
              <a:cs typeface="Arial Regular"/>
            </a:endParaRPr>
          </a:p>
          <a:p>
            <a:r>
              <a:rPr lang="en-US" sz="2000" dirty="0" smtClean="0">
                <a:solidFill>
                  <a:schemeClr val="bg1"/>
                </a:solidFill>
                <a:latin typeface="+mn-lt"/>
                <a:cs typeface="Arial Regular"/>
              </a:rPr>
              <a:t>Visual Studio Integration</a:t>
            </a:r>
          </a:p>
          <a:p>
            <a:pPr lvl="1"/>
            <a:r>
              <a:rPr lang="en-US" sz="2000" dirty="0" smtClean="0">
                <a:solidFill>
                  <a:schemeClr val="bg1"/>
                </a:solidFill>
                <a:cs typeface="Arial Regular"/>
              </a:rPr>
              <a:t>Support VS 2015 and VS 2017</a:t>
            </a:r>
          </a:p>
          <a:p>
            <a:pPr lvl="1"/>
            <a:r>
              <a:rPr lang="en-US" sz="2000" dirty="0" smtClean="0">
                <a:solidFill>
                  <a:schemeClr val="bg1"/>
                </a:solidFill>
                <a:cs typeface="Arial Regular"/>
              </a:rPr>
              <a:t>Installed via </a:t>
            </a:r>
            <a:r>
              <a:rPr lang="en-US" sz="2000" dirty="0" err="1" smtClean="0">
                <a:solidFill>
                  <a:schemeClr val="bg1"/>
                </a:solidFill>
                <a:cs typeface="Arial Regular"/>
              </a:rPr>
              <a:t>Nuget</a:t>
            </a:r>
            <a:r>
              <a:rPr lang="en-US" sz="2000" dirty="0" smtClean="0">
                <a:solidFill>
                  <a:schemeClr val="bg1"/>
                </a:solidFill>
                <a:cs typeface="Arial Regular"/>
              </a:rPr>
              <a:t> (search for Crownpeak)</a:t>
            </a:r>
          </a:p>
          <a:p>
            <a:pPr lvl="1"/>
            <a:r>
              <a:rPr lang="en-US" sz="2000" dirty="0" smtClean="0">
                <a:solidFill>
                  <a:schemeClr val="bg1"/>
                </a:solidFill>
                <a:cs typeface="Arial Regular"/>
              </a:rPr>
              <a:t>Included IntelliSense for Crownpeak CMS API</a:t>
            </a:r>
          </a:p>
          <a:p>
            <a:pPr lvl="1"/>
            <a:endParaRPr lang="en-US" sz="2000" dirty="0">
              <a:solidFill>
                <a:schemeClr val="bg1"/>
              </a:solidFill>
              <a:latin typeface="+mn-lt"/>
              <a:cs typeface="Arial Regular"/>
            </a:endParaRPr>
          </a:p>
          <a:p>
            <a:pPr>
              <a:lnSpc>
                <a:spcPct val="100000"/>
              </a:lnSpc>
            </a:pPr>
            <a:r>
              <a:rPr lang="en-US" sz="2000" dirty="0" smtClean="0">
                <a:solidFill>
                  <a:schemeClr val="bg1"/>
                </a:solidFill>
                <a:latin typeface="+mn-lt"/>
                <a:cs typeface="Arial Regular"/>
              </a:rPr>
              <a:t>Provides direct access to Templates, Library files etc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4545" y="1908102"/>
            <a:ext cx="5781427" cy="3979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509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12188388" cy="6857999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-121920" y="1450848"/>
            <a:ext cx="12411456" cy="5407152"/>
          </a:xfrm>
          <a:prstGeom prst="rect">
            <a:avLst/>
          </a:prstGeom>
          <a:solidFill>
            <a:schemeClr val="bg1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>
                <a:solidFill>
                  <a:schemeClr val="bg1"/>
                </a:solidFill>
              </a:rPr>
              <a:t>Crownpeak CMS UI </a:t>
            </a:r>
            <a:r>
              <a:rPr lang="mr-IN" smtClean="0">
                <a:solidFill>
                  <a:schemeClr val="bg1"/>
                </a:solidFill>
              </a:rPr>
              <a:t>–</a:t>
            </a:r>
            <a:r>
              <a:rPr lang="en-GB" smtClean="0">
                <a:solidFill>
                  <a:schemeClr val="bg1"/>
                </a:solidFill>
              </a:rPr>
              <a:t> Developers: Eclipse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5215" y="2384685"/>
            <a:ext cx="6291702" cy="377931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521095" y="1908102"/>
            <a:ext cx="5923772" cy="3979267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en-US" sz="1600">
                <a:solidFill>
                  <a:schemeClr val="bg1"/>
                </a:solidFill>
                <a:ea typeface="ＭＳ Ｐゴシック" pitchFamily="34" charset="-128"/>
              </a:rPr>
              <a:t>http://</a:t>
            </a:r>
            <a:r>
              <a:rPr lang="en-US" sz="1600" err="1" smtClean="0">
                <a:solidFill>
                  <a:schemeClr val="bg1"/>
                </a:solidFill>
                <a:ea typeface="ＭＳ Ｐゴシック" pitchFamily="34" charset="-128"/>
              </a:rPr>
              <a:t>developer.crownpeak.com</a:t>
            </a:r>
            <a:r>
              <a:rPr lang="en-US" sz="1600" smtClean="0">
                <a:solidFill>
                  <a:schemeClr val="bg1"/>
                </a:solidFill>
                <a:ea typeface="ＭＳ Ｐゴシック" pitchFamily="34" charset="-128"/>
              </a:rPr>
              <a:t>/tools/</a:t>
            </a:r>
            <a:r>
              <a:rPr lang="en-US" sz="1600" err="1" smtClean="0">
                <a:solidFill>
                  <a:schemeClr val="bg1"/>
                </a:solidFill>
                <a:ea typeface="ＭＳ Ｐゴシック" pitchFamily="34" charset="-128"/>
              </a:rPr>
              <a:t>eclipsecdc</a:t>
            </a:r>
            <a:r>
              <a:rPr lang="en-US" sz="1600" smtClean="0">
                <a:solidFill>
                  <a:schemeClr val="bg1"/>
                </a:solidFill>
                <a:ea typeface="ＭＳ Ｐゴシック" pitchFamily="34" charset="-128"/>
              </a:rPr>
              <a:t>/</a:t>
            </a:r>
            <a:r>
              <a:rPr lang="en-US" sz="1600" err="1" smtClean="0">
                <a:solidFill>
                  <a:schemeClr val="bg1"/>
                </a:solidFill>
                <a:ea typeface="ＭＳ Ｐゴシック" pitchFamily="34" charset="-128"/>
              </a:rPr>
              <a:t>index.html</a:t>
            </a:r>
            <a:endParaRPr lang="en-US" sz="1600">
              <a:solidFill>
                <a:schemeClr val="bg1"/>
              </a:solidFill>
            </a:endParaRPr>
          </a:p>
          <a:p>
            <a:endParaRPr lang="en-US" sz="2000" smtClean="0">
              <a:solidFill>
                <a:schemeClr val="bg1"/>
              </a:solidFill>
              <a:latin typeface="+mn-lt"/>
              <a:cs typeface="Arial Regular"/>
            </a:endParaRPr>
          </a:p>
          <a:p>
            <a:r>
              <a:rPr lang="en-US" sz="2000" smtClean="0">
                <a:solidFill>
                  <a:schemeClr val="bg1"/>
                </a:solidFill>
                <a:latin typeface="+mn-lt"/>
                <a:cs typeface="Arial Regular"/>
              </a:rPr>
              <a:t>Visual Studio Integration</a:t>
            </a:r>
          </a:p>
          <a:p>
            <a:pPr lvl="1"/>
            <a:r>
              <a:rPr lang="en-US" sz="2000" smtClean="0">
                <a:solidFill>
                  <a:schemeClr val="bg1"/>
                </a:solidFill>
                <a:cs typeface="Arial Regular"/>
              </a:rPr>
              <a:t>Installed via Nuget (search for </a:t>
            </a:r>
            <a:br>
              <a:rPr lang="en-US" sz="2000" smtClean="0">
                <a:solidFill>
                  <a:schemeClr val="bg1"/>
                </a:solidFill>
                <a:cs typeface="Arial Regular"/>
              </a:rPr>
            </a:br>
            <a:r>
              <a:rPr lang="en-US" sz="2000" smtClean="0">
                <a:solidFill>
                  <a:schemeClr val="bg1"/>
                </a:solidFill>
                <a:cs typeface="Arial Regular"/>
              </a:rPr>
              <a:t>Crownpeak)</a:t>
            </a:r>
          </a:p>
          <a:p>
            <a:pPr lvl="1"/>
            <a:r>
              <a:rPr lang="en-US" sz="2000" smtClean="0">
                <a:solidFill>
                  <a:schemeClr val="bg1"/>
                </a:solidFill>
                <a:cs typeface="Arial Regular"/>
              </a:rPr>
              <a:t>Included IntelliSense for </a:t>
            </a:r>
            <a:br>
              <a:rPr lang="en-US" sz="2000" smtClean="0">
                <a:solidFill>
                  <a:schemeClr val="bg1"/>
                </a:solidFill>
                <a:cs typeface="Arial Regular"/>
              </a:rPr>
            </a:br>
            <a:r>
              <a:rPr lang="en-US" sz="2000" smtClean="0">
                <a:solidFill>
                  <a:schemeClr val="bg1"/>
                </a:solidFill>
                <a:cs typeface="Arial Regular"/>
              </a:rPr>
              <a:t>Crownpeak CMS API</a:t>
            </a:r>
          </a:p>
          <a:p>
            <a:pPr lvl="1"/>
            <a:endParaRPr lang="en-US" sz="2000">
              <a:solidFill>
                <a:schemeClr val="bg1"/>
              </a:solidFill>
              <a:latin typeface="+mn-lt"/>
              <a:cs typeface="Arial Regular"/>
            </a:endParaRPr>
          </a:p>
          <a:p>
            <a:pPr>
              <a:lnSpc>
                <a:spcPct val="100000"/>
              </a:lnSpc>
            </a:pPr>
            <a:r>
              <a:rPr lang="en-US" sz="2000" smtClean="0">
                <a:solidFill>
                  <a:schemeClr val="bg1"/>
                </a:solidFill>
                <a:latin typeface="+mn-lt"/>
                <a:cs typeface="Arial Regular"/>
              </a:rPr>
              <a:t>Provides direct access to Templates, </a:t>
            </a:r>
            <a:r>
              <a:rPr lang="en-US" sz="2000">
                <a:solidFill>
                  <a:schemeClr val="bg1"/>
                </a:solidFill>
                <a:latin typeface="+mn-lt"/>
                <a:cs typeface="Arial Regular"/>
              </a:rPr>
              <a:t/>
            </a:r>
            <a:br>
              <a:rPr lang="en-US" sz="2000">
                <a:solidFill>
                  <a:schemeClr val="bg1"/>
                </a:solidFill>
                <a:latin typeface="+mn-lt"/>
                <a:cs typeface="Arial Regular"/>
              </a:rPr>
            </a:br>
            <a:r>
              <a:rPr lang="en-US" sz="2000" smtClean="0">
                <a:solidFill>
                  <a:schemeClr val="bg1"/>
                </a:solidFill>
                <a:latin typeface="+mn-lt"/>
                <a:cs typeface="Arial Regular"/>
              </a:rPr>
              <a:t>Library files etc. </a:t>
            </a:r>
          </a:p>
        </p:txBody>
      </p:sp>
    </p:spTree>
    <p:extLst>
      <p:ext uri="{BB962C8B-B14F-4D97-AF65-F5344CB8AC3E}">
        <p14:creationId xmlns:p14="http://schemas.microsoft.com/office/powerpoint/2010/main" val="3319204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Crownpeak Terminolog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924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mtClean="0">
                <a:solidFill>
                  <a:schemeClr val="bg1"/>
                </a:solidFill>
              </a:rPr>
              <a:t>Terminology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erminology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BF86ACB6-83AD-C64A-9DF7-000AC6D9CE9E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4" name="SmartAr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6091574"/>
              </p:ext>
            </p:extLst>
          </p:nvPr>
        </p:nvGraphicFramePr>
        <p:xfrm>
          <a:off x="2336800" y="2021326"/>
          <a:ext cx="7518400" cy="436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0054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rownpeak Terminology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BF86ACB6-83AD-C64A-9DF7-000AC6D9CE9E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4" name="SmartAr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205248"/>
              </p:ext>
            </p:extLst>
          </p:nvPr>
        </p:nvGraphicFramePr>
        <p:xfrm>
          <a:off x="1063939" y="2075328"/>
          <a:ext cx="10464800" cy="436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48999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6"/>
  <p:tag name="MIO_GUID" val="5ef7a2e1-a143-4b41-a412-0bc74c0e2581"/>
  <p:tag name="MIO_UPDATE" val="True"/>
  <p:tag name="MIO_VERSION" val="21.07.2013 12:25:04"/>
  <p:tag name="MIO_DBID" val="15fa97fb-7d80-46a6-90c8-9d7e2cf8d91c"/>
  <p:tag name="MIO_LASTDOWNLOADED" val="21.07.2013 12:25:04"/>
  <p:tag name="MIO_EK_DESIGN" val="11"/>
  <p:tag name="MIO_VERSION_DESIGN" val="29.04.2013 13:21:24"/>
  <p:tag name="MIO_DBID_DESIGN" val="15fa97fb-7d80-46a6-90c8-9d7e2cf8d91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3"/>
  <p:tag name="MIO_GUID" val="ed7fe45b-ca91-459d-9f87-e52c1e6e67f6"/>
  <p:tag name="MIO_UPDATE" val="True"/>
  <p:tag name="MIO_VERSION" val="21.07.2013 12:25:02"/>
  <p:tag name="MIO_DBID" val="15fa97fb-7d80-46a6-90c8-9d7e2cf8d91c"/>
  <p:tag name="MIO_LASTDOWNLOADED" val="21.07.2013 12:25:02"/>
  <p:tag name="MIO_EK_DESIGN" val="11"/>
  <p:tag name="MIO_VERSION_DESIGN" val="29.04.2013 13:21:24"/>
  <p:tag name="MIO_DBID_DESIGN" val="15fa97fb-7d80-46a6-90c8-9d7e2cf8d91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2"/>
  <p:tag name="MIO_GUID" val="e7c590dc-c9dc-4793-9051-e560ad8b6ea9"/>
  <p:tag name="MIO_UPDATE" val="True"/>
  <p:tag name="MIO_VERSION" val="21.07.2013 12:25:02"/>
  <p:tag name="MIO_DBID" val="15fa97fb-7d80-46a6-90c8-9d7e2cf8d91c"/>
  <p:tag name="MIO_LASTDOWNLOADED" val="21.07.2013 12:25:02"/>
  <p:tag name="MIO_EK_DESIGN" val="11"/>
  <p:tag name="MIO_VERSION_DESIGN" val="29.04.2013 13:21:24"/>
  <p:tag name="MIO_DBID_DESIGN" val="15fa97fb-7d80-46a6-90c8-9d7e2cf8d91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1"/>
  <p:tag name="MIO_GUID" val="4fb229e2-5a25-477d-bfc0-9a0a9ffc7202"/>
  <p:tag name="MIO_UPDATE" val="True"/>
  <p:tag name="MIO_VERSION" val="21.07.2013 12:25:01"/>
  <p:tag name="MIO_DBID" val="15fa97fb-7d80-46a6-90c8-9d7e2cf8d91c"/>
  <p:tag name="MIO_LASTDOWNLOADED" val="21.07.2013 12:25:01"/>
  <p:tag name="MIO_EK_DESIGN" val="11"/>
  <p:tag name="MIO_VERSION_DESIGN" val="29.04.2013 13:21:24"/>
  <p:tag name="MIO_DBID_DESIGN" val="15fa97fb-7d80-46a6-90c8-9d7e2cf8d91c"/>
</p:tagLst>
</file>

<file path=ppt/theme/theme1.xml><?xml version="1.0" encoding="utf-8"?>
<a:theme xmlns:a="http://schemas.openxmlformats.org/drawingml/2006/main" name="Office Theme">
  <a:themeElements>
    <a:clrScheme name="Crownpeak Brand">
      <a:dk1>
        <a:srgbClr val="003A5A"/>
      </a:dk1>
      <a:lt1>
        <a:sysClr val="window" lastClr="FFFFFF"/>
      </a:lt1>
      <a:dk2>
        <a:srgbClr val="003A5A"/>
      </a:dk2>
      <a:lt2>
        <a:srgbClr val="FFFFFF"/>
      </a:lt2>
      <a:accent1>
        <a:srgbClr val="003A5A"/>
      </a:accent1>
      <a:accent2>
        <a:srgbClr val="B61F7E"/>
      </a:accent2>
      <a:accent3>
        <a:srgbClr val="D9036A"/>
      </a:accent3>
      <a:accent4>
        <a:srgbClr val="E63512"/>
      </a:accent4>
      <a:accent5>
        <a:srgbClr val="1D79A4"/>
      </a:accent5>
      <a:accent6>
        <a:srgbClr val="5B335C"/>
      </a:accent6>
      <a:hlink>
        <a:srgbClr val="1D79A4"/>
      </a:hlink>
      <a:folHlink>
        <a:srgbClr val="1D79A4"/>
      </a:folHlink>
    </a:clrScheme>
    <a:fontScheme name="Crownpeak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ebad545-6f24-4a50-86d9-37ac9f441162">
      <Terms xmlns="http://schemas.microsoft.com/office/infopath/2007/PartnerControls"/>
    </lcf76f155ced4ddcb4097134ff3c332f>
    <TaxCatchAll xmlns="e689240d-251c-4017-adba-547be9a28cf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DBB18FA72F8D41BE3AADDE8766CF8E" ma:contentTypeVersion="14" ma:contentTypeDescription="Create a new document." ma:contentTypeScope="" ma:versionID="aac1d5b023d3e9d060c6b7ce096ea336">
  <xsd:schema xmlns:xsd="http://www.w3.org/2001/XMLSchema" xmlns:xs="http://www.w3.org/2001/XMLSchema" xmlns:p="http://schemas.microsoft.com/office/2006/metadata/properties" xmlns:ns2="e689240d-251c-4017-adba-547be9a28cf3" xmlns:ns3="7ebad545-6f24-4a50-86d9-37ac9f441162" targetNamespace="http://schemas.microsoft.com/office/2006/metadata/properties" ma:root="true" ma:fieldsID="db0a1b696c6c9a88a3fc64a84bd11f01" ns2:_="" ns3:_="">
    <xsd:import namespace="e689240d-251c-4017-adba-547be9a28cf3"/>
    <xsd:import namespace="7ebad545-6f24-4a50-86d9-37ac9f44116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ObjectDetectorVersions" minOccurs="0"/>
                <xsd:element ref="ns3:MediaServiceGenerationTime" minOccurs="0"/>
                <xsd:element ref="ns3:MediaServiceEventHashCode" minOccurs="0"/>
                <xsd:element ref="ns3:MediaServiceSearchProperties" minOccurs="0"/>
                <xsd:element ref="ns3:lcf76f155ced4ddcb4097134ff3c332f" minOccurs="0"/>
                <xsd:element ref="ns2:TaxCatchAll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89240d-251c-4017-adba-547be9a28cf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90f61ad7-14d7-4a18-9ecb-ecf5fa16bdf2}" ma:internalName="TaxCatchAll" ma:showField="CatchAllData" ma:web="e689240d-251c-4017-adba-547be9a28c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bad545-6f24-4a50-86d9-37ac9f4411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54fef160-e776-43c2-8f95-bf70117a71c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6A64C90-4A44-4F11-BEC2-8CB76D07F0E0}">
  <ds:schemaRefs>
    <ds:schemaRef ds:uri="http://schemas.openxmlformats.org/package/2006/metadata/core-properties"/>
    <ds:schemaRef ds:uri="631082eb-fd3e-4e0d-a348-9c93b2e913b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FC7FBC2-262F-4150-8BC5-0B387969925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360A34C-F488-4F90-B009-339CA84F4BDB}"/>
</file>

<file path=docProps/app.xml><?xml version="1.0" encoding="utf-8"?>
<Properties xmlns="http://schemas.openxmlformats.org/officeDocument/2006/extended-properties" xmlns:vt="http://schemas.openxmlformats.org/officeDocument/2006/docPropsVTypes">
  <TotalTime>7544</TotalTime>
  <Words>878</Words>
  <Application>Microsoft Macintosh PowerPoint</Application>
  <PresentationFormat>Widescreen</PresentationFormat>
  <Paragraphs>240</Paragraphs>
  <Slides>24</Slides>
  <Notes>21</Notes>
  <HiddenSlides>1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24</vt:i4>
      </vt:variant>
    </vt:vector>
  </HeadingPairs>
  <TitlesOfParts>
    <vt:vector size="39" baseType="lpstr">
      <vt:lpstr>Arial Regular</vt:lpstr>
      <vt:lpstr>Calibri</vt:lpstr>
      <vt:lpstr>Calibri Light</vt:lpstr>
      <vt:lpstr>Helvetica Light</vt:lpstr>
      <vt:lpstr>ＭＳ Ｐゴシック</vt:lpstr>
      <vt:lpstr>Neris Black</vt:lpstr>
      <vt:lpstr>Neris Light</vt:lpstr>
      <vt:lpstr>Seravek Light</vt:lpstr>
      <vt:lpstr>Arial</vt:lpstr>
      <vt:lpstr>Office Theme</vt:lpstr>
      <vt:lpstr>Custom Design</vt:lpstr>
      <vt:lpstr>1_Office Theme</vt:lpstr>
      <vt:lpstr>2_Office Theme</vt:lpstr>
      <vt:lpstr>3_Office Theme</vt:lpstr>
      <vt:lpstr>4_Office Theme</vt:lpstr>
      <vt:lpstr>Developer Training</vt:lpstr>
      <vt:lpstr>Configuring Your System</vt:lpstr>
      <vt:lpstr>Crownpeak CMS UI – V3</vt:lpstr>
      <vt:lpstr>Crownpeak CMS UI – Volte (Administration)</vt:lpstr>
      <vt:lpstr>Crownpeak CMS UI – Developers: Visual Studio</vt:lpstr>
      <vt:lpstr>Crownpeak CMS UI – Developers: Eclipse</vt:lpstr>
      <vt:lpstr>Crownpeak Terminology</vt:lpstr>
      <vt:lpstr>Terminology</vt:lpstr>
      <vt:lpstr>Crownpeak Terminology</vt:lpstr>
      <vt:lpstr>Crownpeak Terminology</vt:lpstr>
      <vt:lpstr>Crownpeak Terminology</vt:lpstr>
      <vt:lpstr>Publishing Terminology</vt:lpstr>
      <vt:lpstr>Publishing Terminology</vt:lpstr>
      <vt:lpstr>Developer Terminology</vt:lpstr>
      <vt:lpstr>Developer Terminology</vt:lpstr>
      <vt:lpstr>Editing, Creating &amp; Publishing Content</vt:lpstr>
      <vt:lpstr>PowerPoint Presentation</vt:lpstr>
      <vt:lpstr>Inline Editing Mode</vt:lpstr>
      <vt:lpstr>Form Editing mode</vt:lpstr>
      <vt:lpstr>Creating New Sections &amp; Pages - Models</vt:lpstr>
      <vt:lpstr>Types of Models</vt:lpstr>
      <vt:lpstr>Types of Models</vt:lpstr>
      <vt:lpstr>Changing Models</vt:lpstr>
      <vt:lpstr>Publishing</vt:lpstr>
    </vt:vector>
  </TitlesOfParts>
  <Company/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lissa kendall</dc:creator>
  <cp:lastModifiedBy>Marcus Edwards</cp:lastModifiedBy>
  <cp:revision>380</cp:revision>
  <dcterms:created xsi:type="dcterms:W3CDTF">2016-06-20T21:16:35Z</dcterms:created>
  <dcterms:modified xsi:type="dcterms:W3CDTF">2018-01-24T23:3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DBB18FA72F8D41BE3AADDE8766CF8E</vt:lpwstr>
  </property>
</Properties>
</file>